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92" r:id="rId5"/>
    <p:sldMasterId id="2147483925" r:id="rId6"/>
    <p:sldMasterId id="2147483950" r:id="rId7"/>
    <p:sldMasterId id="2147483971" r:id="rId8"/>
    <p:sldMasterId id="2147483992" r:id="rId9"/>
    <p:sldMasterId id="2147484014" r:id="rId10"/>
    <p:sldMasterId id="2147484036" r:id="rId11"/>
    <p:sldMasterId id="2147484062" r:id="rId12"/>
  </p:sldMasterIdLst>
  <p:notesMasterIdLst>
    <p:notesMasterId r:id="rId18"/>
  </p:notesMasterIdLst>
  <p:handoutMasterIdLst>
    <p:handoutMasterId r:id="rId19"/>
  </p:handoutMasterIdLst>
  <p:sldIdLst>
    <p:sldId id="2142534120" r:id="rId13"/>
    <p:sldId id="2147374530" r:id="rId14"/>
    <p:sldId id="2147374579" r:id="rId15"/>
    <p:sldId id="2147374585" r:id="rId16"/>
    <p:sldId id="141168821"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nect Direct Window 6.4.0" id="{4E249A1C-D928-4AC0-A77C-65440B7A141B}">
          <p14:sldIdLst>
            <p14:sldId id="2142534120"/>
            <p14:sldId id="2147374530"/>
            <p14:sldId id="2147374579"/>
            <p14:sldId id="2147374585"/>
            <p14:sldId id="14116882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E7EBF1"/>
    <a:srgbClr val="CBD5E3"/>
    <a:srgbClr val="000000"/>
    <a:srgbClr val="FFFF00"/>
    <a:srgbClr val="FFFFFF"/>
    <a:srgbClr val="ADAFB2"/>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4B771A-5610-468E-A37A-DCC31F17AC8F}" v="4" dt="2025-03-20T09:24:25.5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62003" autoAdjust="0"/>
  </p:normalViewPr>
  <p:slideViewPr>
    <p:cSldViewPr>
      <p:cViewPr varScale="1">
        <p:scale>
          <a:sx n="82" d="100"/>
          <a:sy n="82" d="100"/>
        </p:scale>
        <p:origin x="715" y="96"/>
      </p:cViewPr>
      <p:guideLst>
        <p:guide orient="horz" pos="2341"/>
        <p:guide pos="3659"/>
      </p:guideLst>
    </p:cSldViewPr>
  </p:slideViewPr>
  <p:outlineViewPr>
    <p:cViewPr>
      <p:scale>
        <a:sx n="33" d="100"/>
        <a:sy n="33" d="100"/>
      </p:scale>
      <p:origin x="0" y="-1932"/>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nk D, Patel" userId="9535835a-0cb2-4a74-bb95-ec5408ded98e" providerId="ADAL" clId="{554B771A-5610-468E-A37A-DCC31F17AC8F}"/>
    <pc:docChg chg="undo custSel addSld delSld modSld sldOrd modSection">
      <pc:chgData name="Mayank D, Patel" userId="9535835a-0cb2-4a74-bb95-ec5408ded98e" providerId="ADAL" clId="{554B771A-5610-468E-A37A-DCC31F17AC8F}" dt="2025-03-20T09:27:31.013" v="1340" actId="1036"/>
      <pc:docMkLst>
        <pc:docMk/>
      </pc:docMkLst>
      <pc:sldChg chg="modSp mod">
        <pc:chgData name="Mayank D, Patel" userId="9535835a-0cb2-4a74-bb95-ec5408ded98e" providerId="ADAL" clId="{554B771A-5610-468E-A37A-DCC31F17AC8F}" dt="2025-03-20T09:23:46.507" v="1320" actId="20577"/>
        <pc:sldMkLst>
          <pc:docMk/>
          <pc:sldMk cId="2553683145" sldId="2142534120"/>
        </pc:sldMkLst>
        <pc:spChg chg="mod">
          <ac:chgData name="Mayank D, Patel" userId="9535835a-0cb2-4a74-bb95-ec5408ded98e" providerId="ADAL" clId="{554B771A-5610-468E-A37A-DCC31F17AC8F}" dt="2025-03-20T09:23:46.507" v="1320" actId="20577"/>
          <ac:spMkLst>
            <pc:docMk/>
            <pc:sldMk cId="2553683145" sldId="2142534120"/>
            <ac:spMk id="2" creationId="{DB78EE6A-F986-34CF-DB8D-D68F568650F7}"/>
          </ac:spMkLst>
        </pc:spChg>
      </pc:sldChg>
      <pc:sldChg chg="del">
        <pc:chgData name="Mayank D, Patel" userId="9535835a-0cb2-4a74-bb95-ec5408ded98e" providerId="ADAL" clId="{554B771A-5610-468E-A37A-DCC31F17AC8F}" dt="2025-03-20T08:53:46.664" v="80" actId="2696"/>
        <pc:sldMkLst>
          <pc:docMk/>
          <pc:sldMk cId="2967914785" sldId="2147374534"/>
        </pc:sldMkLst>
      </pc:sldChg>
      <pc:sldChg chg="del">
        <pc:chgData name="Mayank D, Patel" userId="9535835a-0cb2-4a74-bb95-ec5408ded98e" providerId="ADAL" clId="{554B771A-5610-468E-A37A-DCC31F17AC8F}" dt="2025-03-20T08:54:07.501" v="83" actId="2696"/>
        <pc:sldMkLst>
          <pc:docMk/>
          <pc:sldMk cId="1108923453" sldId="2147374535"/>
        </pc:sldMkLst>
      </pc:sldChg>
      <pc:sldChg chg="del">
        <pc:chgData name="Mayank D, Patel" userId="9535835a-0cb2-4a74-bb95-ec5408ded98e" providerId="ADAL" clId="{554B771A-5610-468E-A37A-DCC31F17AC8F}" dt="2025-03-20T08:53:55.843" v="81" actId="2696"/>
        <pc:sldMkLst>
          <pc:docMk/>
          <pc:sldMk cId="4143309631" sldId="2147374552"/>
        </pc:sldMkLst>
      </pc:sldChg>
      <pc:sldChg chg="del">
        <pc:chgData name="Mayank D, Patel" userId="9535835a-0cb2-4a74-bb95-ec5408ded98e" providerId="ADAL" clId="{554B771A-5610-468E-A37A-DCC31F17AC8F}" dt="2025-03-20T08:54:00.978" v="82" actId="2696"/>
        <pc:sldMkLst>
          <pc:docMk/>
          <pc:sldMk cId="3135758432" sldId="2147374575"/>
        </pc:sldMkLst>
      </pc:sldChg>
      <pc:sldChg chg="modSp mod">
        <pc:chgData name="Mayank D, Patel" userId="9535835a-0cb2-4a74-bb95-ec5408ded98e" providerId="ADAL" clId="{554B771A-5610-468E-A37A-DCC31F17AC8F}" dt="2025-03-20T05:29:09.809" v="0" actId="1036"/>
        <pc:sldMkLst>
          <pc:docMk/>
          <pc:sldMk cId="2184699028" sldId="2147374579"/>
        </pc:sldMkLst>
        <pc:spChg chg="mod">
          <ac:chgData name="Mayank D, Patel" userId="9535835a-0cb2-4a74-bb95-ec5408ded98e" providerId="ADAL" clId="{554B771A-5610-468E-A37A-DCC31F17AC8F}" dt="2025-03-20T05:29:09.809" v="0" actId="1036"/>
          <ac:spMkLst>
            <pc:docMk/>
            <pc:sldMk cId="2184699028" sldId="2147374579"/>
            <ac:spMk id="3" creationId="{C2291739-6DAE-5173-6DFA-403E00D400F2}"/>
          </ac:spMkLst>
        </pc:spChg>
      </pc:sldChg>
      <pc:sldChg chg="del">
        <pc:chgData name="Mayank D, Patel" userId="9535835a-0cb2-4a74-bb95-ec5408ded98e" providerId="ADAL" clId="{554B771A-5610-468E-A37A-DCC31F17AC8F}" dt="2025-03-20T09:05:43.908" v="611" actId="2696"/>
        <pc:sldMkLst>
          <pc:docMk/>
          <pc:sldMk cId="2547922072" sldId="2147374580"/>
        </pc:sldMkLst>
      </pc:sldChg>
      <pc:sldChg chg="del">
        <pc:chgData name="Mayank D, Patel" userId="9535835a-0cb2-4a74-bb95-ec5408ded98e" providerId="ADAL" clId="{554B771A-5610-468E-A37A-DCC31F17AC8F}" dt="2025-03-20T09:05:47.244" v="612" actId="2696"/>
        <pc:sldMkLst>
          <pc:docMk/>
          <pc:sldMk cId="1843102552" sldId="2147374581"/>
        </pc:sldMkLst>
      </pc:sldChg>
      <pc:sldChg chg="del">
        <pc:chgData name="Mayank D, Patel" userId="9535835a-0cb2-4a74-bb95-ec5408ded98e" providerId="ADAL" clId="{554B771A-5610-468E-A37A-DCC31F17AC8F}" dt="2025-03-20T09:05:54.646" v="613" actId="2696"/>
        <pc:sldMkLst>
          <pc:docMk/>
          <pc:sldMk cId="3007485619" sldId="2147374582"/>
        </pc:sldMkLst>
      </pc:sldChg>
      <pc:sldChg chg="addSp delSp modSp mod">
        <pc:chgData name="Mayank D, Patel" userId="9535835a-0cb2-4a74-bb95-ec5408ded98e" providerId="ADAL" clId="{554B771A-5610-468E-A37A-DCC31F17AC8F}" dt="2025-03-20T09:23:23.795" v="1318" actId="207"/>
        <pc:sldMkLst>
          <pc:docMk/>
          <pc:sldMk cId="3787187530" sldId="2147374583"/>
        </pc:sldMkLst>
        <pc:spChg chg="add mod">
          <ac:chgData name="Mayank D, Patel" userId="9535835a-0cb2-4a74-bb95-ec5408ded98e" providerId="ADAL" clId="{554B771A-5610-468E-A37A-DCC31F17AC8F}" dt="2025-03-20T09:23:23.795" v="1318" actId="207"/>
          <ac:spMkLst>
            <pc:docMk/>
            <pc:sldMk cId="3787187530" sldId="2147374583"/>
            <ac:spMk id="2" creationId="{52A58912-3696-96B4-B35E-93C93C5A2E4F}"/>
          </ac:spMkLst>
        </pc:spChg>
        <pc:spChg chg="mod">
          <ac:chgData name="Mayank D, Patel" userId="9535835a-0cb2-4a74-bb95-ec5408ded98e" providerId="ADAL" clId="{554B771A-5610-468E-A37A-DCC31F17AC8F}" dt="2025-03-20T09:23:08.832" v="1317" actId="113"/>
          <ac:spMkLst>
            <pc:docMk/>
            <pc:sldMk cId="3787187530" sldId="2147374583"/>
            <ac:spMk id="3" creationId="{218C8C23-7E36-CB0F-6343-C95172F3A355}"/>
          </ac:spMkLst>
        </pc:spChg>
        <pc:picChg chg="del mod">
          <ac:chgData name="Mayank D, Patel" userId="9535835a-0cb2-4a74-bb95-ec5408ded98e" providerId="ADAL" clId="{554B771A-5610-468E-A37A-DCC31F17AC8F}" dt="2025-03-20T09:11:43.905" v="641" actId="478"/>
          <ac:picMkLst>
            <pc:docMk/>
            <pc:sldMk cId="3787187530" sldId="2147374583"/>
            <ac:picMk id="7" creationId="{6AC54AD1-3710-3565-B88E-0FECC00E7220}"/>
          </ac:picMkLst>
        </pc:picChg>
        <pc:picChg chg="del mod">
          <ac:chgData name="Mayank D, Patel" userId="9535835a-0cb2-4a74-bb95-ec5408ded98e" providerId="ADAL" clId="{554B771A-5610-468E-A37A-DCC31F17AC8F}" dt="2025-03-20T09:11:45.931" v="642" actId="478"/>
          <ac:picMkLst>
            <pc:docMk/>
            <pc:sldMk cId="3787187530" sldId="2147374583"/>
            <ac:picMk id="9" creationId="{BAC924E0-6B86-AC7F-0597-9D280703C6E2}"/>
          </ac:picMkLst>
        </pc:picChg>
      </pc:sldChg>
      <pc:sldChg chg="addSp delSp modSp new mod ord modClrScheme chgLayout">
        <pc:chgData name="Mayank D, Patel" userId="9535835a-0cb2-4a74-bb95-ec5408ded98e" providerId="ADAL" clId="{554B771A-5610-468E-A37A-DCC31F17AC8F}" dt="2025-03-20T09:05:22.590" v="609" actId="26606"/>
        <pc:sldMkLst>
          <pc:docMk/>
          <pc:sldMk cId="3333431515" sldId="2147374584"/>
        </pc:sldMkLst>
        <pc:spChg chg="mod">
          <ac:chgData name="Mayank D, Patel" userId="9535835a-0cb2-4a74-bb95-ec5408ded98e" providerId="ADAL" clId="{554B771A-5610-468E-A37A-DCC31F17AC8F}" dt="2025-03-20T09:05:22.590" v="609" actId="26606"/>
          <ac:spMkLst>
            <pc:docMk/>
            <pc:sldMk cId="3333431515" sldId="2147374584"/>
            <ac:spMk id="2" creationId="{3A280A4C-16A6-B6A7-7749-B040B15C345A}"/>
          </ac:spMkLst>
        </pc:spChg>
        <pc:spChg chg="del">
          <ac:chgData name="Mayank D, Patel" userId="9535835a-0cb2-4a74-bb95-ec5408ded98e" providerId="ADAL" clId="{554B771A-5610-468E-A37A-DCC31F17AC8F}" dt="2025-03-20T08:53:16.262" v="64" actId="478"/>
          <ac:spMkLst>
            <pc:docMk/>
            <pc:sldMk cId="3333431515" sldId="2147374584"/>
            <ac:spMk id="3" creationId="{3B5EB119-78FA-AA80-4607-AC30BF245312}"/>
          </ac:spMkLst>
        </pc:spChg>
        <pc:spChg chg="del">
          <ac:chgData name="Mayank D, Patel" userId="9535835a-0cb2-4a74-bb95-ec5408ded98e" providerId="ADAL" clId="{554B771A-5610-468E-A37A-DCC31F17AC8F}" dt="2025-03-20T08:53:14.429" v="63" actId="478"/>
          <ac:spMkLst>
            <pc:docMk/>
            <pc:sldMk cId="3333431515" sldId="2147374584"/>
            <ac:spMk id="4" creationId="{1588EABA-ED9B-7126-5240-E167A4B4DC7B}"/>
          </ac:spMkLst>
        </pc:spChg>
        <pc:spChg chg="add mod">
          <ac:chgData name="Mayank D, Patel" userId="9535835a-0cb2-4a74-bb95-ec5408ded98e" providerId="ADAL" clId="{554B771A-5610-468E-A37A-DCC31F17AC8F}" dt="2025-03-20T09:05:22.590" v="609" actId="26606"/>
          <ac:spMkLst>
            <pc:docMk/>
            <pc:sldMk cId="3333431515" sldId="2147374584"/>
            <ac:spMk id="9" creationId="{27EEE12C-A62A-7D3F-035D-427BCE3C4759}"/>
          </ac:spMkLst>
        </pc:spChg>
        <pc:picChg chg="add del mod">
          <ac:chgData name="Mayank D, Patel" userId="9535835a-0cb2-4a74-bb95-ec5408ded98e" providerId="ADAL" clId="{554B771A-5610-468E-A37A-DCC31F17AC8F}" dt="2025-03-20T08:53:10.641" v="62" actId="478"/>
          <ac:picMkLst>
            <pc:docMk/>
            <pc:sldMk cId="3333431515" sldId="2147374584"/>
            <ac:picMk id="6" creationId="{CB5D3B55-12F3-3E1C-1F6E-3B319346E3E7}"/>
          </ac:picMkLst>
        </pc:picChg>
        <pc:picChg chg="add mod ord">
          <ac:chgData name="Mayank D, Patel" userId="9535835a-0cb2-4a74-bb95-ec5408ded98e" providerId="ADAL" clId="{554B771A-5610-468E-A37A-DCC31F17AC8F}" dt="2025-03-20T09:05:22.590" v="609" actId="26606"/>
          <ac:picMkLst>
            <pc:docMk/>
            <pc:sldMk cId="3333431515" sldId="2147374584"/>
            <ac:picMk id="8" creationId="{FDAD0AD0-80E1-6695-EAB0-4CACBD0F6938}"/>
          </ac:picMkLst>
        </pc:picChg>
      </pc:sldChg>
      <pc:sldChg chg="addSp delSp modSp new mod modClrScheme chgLayout">
        <pc:chgData name="Mayank D, Patel" userId="9535835a-0cb2-4a74-bb95-ec5408ded98e" providerId="ADAL" clId="{554B771A-5610-468E-A37A-DCC31F17AC8F}" dt="2025-03-20T09:27:31.013" v="1340" actId="1036"/>
        <pc:sldMkLst>
          <pc:docMk/>
          <pc:sldMk cId="1615706354" sldId="2147374585"/>
        </pc:sldMkLst>
        <pc:spChg chg="mod ord">
          <ac:chgData name="Mayank D, Patel" userId="9535835a-0cb2-4a74-bb95-ec5408ded98e" providerId="ADAL" clId="{554B771A-5610-468E-A37A-DCC31F17AC8F}" dt="2025-03-20T09:27:31.013" v="1340" actId="1036"/>
          <ac:spMkLst>
            <pc:docMk/>
            <pc:sldMk cId="1615706354" sldId="2147374585"/>
            <ac:spMk id="2" creationId="{62C89187-727F-A79A-405D-BB73AEF548F3}"/>
          </ac:spMkLst>
        </pc:spChg>
        <pc:spChg chg="del">
          <ac:chgData name="Mayank D, Patel" userId="9535835a-0cb2-4a74-bb95-ec5408ded98e" providerId="ADAL" clId="{554B771A-5610-468E-A37A-DCC31F17AC8F}" dt="2025-03-20T08:54:17.119" v="85" actId="478"/>
          <ac:spMkLst>
            <pc:docMk/>
            <pc:sldMk cId="1615706354" sldId="2147374585"/>
            <ac:spMk id="3" creationId="{18E95D5C-AA29-7342-4BDF-C64D031E74F8}"/>
          </ac:spMkLst>
        </pc:spChg>
        <pc:spChg chg="del">
          <ac:chgData name="Mayank D, Patel" userId="9535835a-0cb2-4a74-bb95-ec5408ded98e" providerId="ADAL" clId="{554B771A-5610-468E-A37A-DCC31F17AC8F}" dt="2025-03-20T08:54:20.656" v="86" actId="478"/>
          <ac:spMkLst>
            <pc:docMk/>
            <pc:sldMk cId="1615706354" sldId="2147374585"/>
            <ac:spMk id="4" creationId="{58288B4C-0926-8408-33F3-D414DA556A26}"/>
          </ac:spMkLst>
        </pc:spChg>
        <pc:spChg chg="add del mod ord">
          <ac:chgData name="Mayank D, Patel" userId="9535835a-0cb2-4a74-bb95-ec5408ded98e" providerId="ADAL" clId="{554B771A-5610-468E-A37A-DCC31F17AC8F}" dt="2025-03-20T08:57:00.048" v="109" actId="700"/>
          <ac:spMkLst>
            <pc:docMk/>
            <pc:sldMk cId="1615706354" sldId="2147374585"/>
            <ac:spMk id="5" creationId="{23F64345-6A7A-E43C-54FD-E2AA3999BDFC}"/>
          </ac:spMkLst>
        </pc:spChg>
        <pc:spChg chg="add mod">
          <ac:chgData name="Mayank D, Patel" userId="9535835a-0cb2-4a74-bb95-ec5408ded98e" providerId="ADAL" clId="{554B771A-5610-468E-A37A-DCC31F17AC8F}" dt="2025-03-20T09:05:30.595" v="610" actId="26606"/>
          <ac:spMkLst>
            <pc:docMk/>
            <pc:sldMk cId="1615706354" sldId="2147374585"/>
            <ac:spMk id="8" creationId="{0F895A92-7365-1341-F929-99FE019E526B}"/>
          </ac:spMkLst>
        </pc:spChg>
        <pc:spChg chg="add del">
          <ac:chgData name="Mayank D, Patel" userId="9535835a-0cb2-4a74-bb95-ec5408ded98e" providerId="ADAL" clId="{554B771A-5610-468E-A37A-DCC31F17AC8F}" dt="2025-03-20T09:27:26.256" v="1338" actId="11529"/>
          <ac:spMkLst>
            <pc:docMk/>
            <pc:sldMk cId="1615706354" sldId="2147374585"/>
            <ac:spMk id="11" creationId="{80DF9D57-B912-E541-BE2F-0955161AA56D}"/>
          </ac:spMkLst>
        </pc:spChg>
        <pc:picChg chg="add del mod ord">
          <ac:chgData name="Mayank D, Patel" userId="9535835a-0cb2-4a74-bb95-ec5408ded98e" providerId="ADAL" clId="{554B771A-5610-468E-A37A-DCC31F17AC8F}" dt="2025-03-20T09:26:24.062" v="1327" actId="478"/>
          <ac:picMkLst>
            <pc:docMk/>
            <pc:sldMk cId="1615706354" sldId="2147374585"/>
            <ac:picMk id="7" creationId="{41BAB72D-20F0-170E-CDFA-6D594814490B}"/>
          </ac:picMkLst>
        </pc:picChg>
        <pc:picChg chg="add mod">
          <ac:chgData name="Mayank D, Patel" userId="9535835a-0cb2-4a74-bb95-ec5408ded98e" providerId="ADAL" clId="{554B771A-5610-468E-A37A-DCC31F17AC8F}" dt="2025-03-20T09:27:25.759" v="1337" actId="13822"/>
          <ac:picMkLst>
            <pc:docMk/>
            <pc:sldMk cId="1615706354" sldId="2147374585"/>
            <ac:picMk id="10" creationId="{C2075DEC-674D-D6C4-0760-0639F15C8652}"/>
          </ac:picMkLst>
        </pc:picChg>
      </pc:sldChg>
      <pc:sldChg chg="modSp add mod">
        <pc:chgData name="Mayank D, Patel" userId="9535835a-0cb2-4a74-bb95-ec5408ded98e" providerId="ADAL" clId="{554B771A-5610-468E-A37A-DCC31F17AC8F}" dt="2025-03-20T09:24:38.586" v="1326" actId="1076"/>
        <pc:sldMkLst>
          <pc:docMk/>
          <pc:sldMk cId="3040033597" sldId="2147374586"/>
        </pc:sldMkLst>
        <pc:spChg chg="mod">
          <ac:chgData name="Mayank D, Patel" userId="9535835a-0cb2-4a74-bb95-ec5408ded98e" providerId="ADAL" clId="{554B771A-5610-468E-A37A-DCC31F17AC8F}" dt="2025-03-20T09:24:38.586" v="1326" actId="1076"/>
          <ac:spMkLst>
            <pc:docMk/>
            <pc:sldMk cId="3040033597" sldId="2147374586"/>
            <ac:spMk id="3" creationId="{9AA99CC5-0466-823B-0FA3-DF35EB89BEAC}"/>
          </ac:spMkLst>
        </pc:spChg>
      </pc:sldChg>
    </pc:docChg>
  </pc:docChgLst>
  <pc:docChgLst>
    <pc:chgData name="Mayank D, Patel" userId="9535835a-0cb2-4a74-bb95-ec5408ded98e" providerId="ADAL" clId="{317FD57B-BD0E-4175-9141-616ABD8791E8}"/>
    <pc:docChg chg="undo custSel addSld delSld modSld modSection">
      <pc:chgData name="Mayank D, Patel" userId="9535835a-0cb2-4a74-bb95-ec5408ded98e" providerId="ADAL" clId="{317FD57B-BD0E-4175-9141-616ABD8791E8}" dt="2025-03-19T07:23:21.598" v="188" actId="14100"/>
      <pc:docMkLst>
        <pc:docMk/>
      </pc:docMkLst>
      <pc:sldChg chg="modSp mod">
        <pc:chgData name="Mayank D, Patel" userId="9535835a-0cb2-4a74-bb95-ec5408ded98e" providerId="ADAL" clId="{317FD57B-BD0E-4175-9141-616ABD8791E8}" dt="2025-03-19T06:33:44.229" v="11" actId="20577"/>
        <pc:sldMkLst>
          <pc:docMk/>
          <pc:sldMk cId="3367994799" sldId="407"/>
        </pc:sldMkLst>
        <pc:spChg chg="mod">
          <ac:chgData name="Mayank D, Patel" userId="9535835a-0cb2-4a74-bb95-ec5408ded98e" providerId="ADAL" clId="{317FD57B-BD0E-4175-9141-616ABD8791E8}" dt="2025-03-19T06:33:23.953" v="2" actId="20577"/>
          <ac:spMkLst>
            <pc:docMk/>
            <pc:sldMk cId="3367994799" sldId="407"/>
            <ac:spMk id="2" creationId="{A693464A-4C8A-423D-ADBD-B1151BF81CE8}"/>
          </ac:spMkLst>
        </pc:spChg>
        <pc:spChg chg="mod">
          <ac:chgData name="Mayank D, Patel" userId="9535835a-0cb2-4a74-bb95-ec5408ded98e" providerId="ADAL" clId="{317FD57B-BD0E-4175-9141-616ABD8791E8}" dt="2025-03-19T06:33:44.229" v="11" actId="20577"/>
          <ac:spMkLst>
            <pc:docMk/>
            <pc:sldMk cId="3367994799" sldId="407"/>
            <ac:spMk id="3" creationId="{57A45627-AC2A-46AA-8765-92D71861F45D}"/>
          </ac:spMkLst>
        </pc:spChg>
      </pc:sldChg>
      <pc:sldChg chg="del">
        <pc:chgData name="Mayank D, Patel" userId="9535835a-0cb2-4a74-bb95-ec5408ded98e" providerId="ADAL" clId="{317FD57B-BD0E-4175-9141-616ABD8791E8}" dt="2025-03-19T06:34:24.219" v="28" actId="47"/>
        <pc:sldMkLst>
          <pc:docMk/>
          <pc:sldMk cId="3842139975" sldId="2142533981"/>
        </pc:sldMkLst>
      </pc:sldChg>
      <pc:sldChg chg="del">
        <pc:chgData name="Mayank D, Patel" userId="9535835a-0cb2-4a74-bb95-ec5408ded98e" providerId="ADAL" clId="{317FD57B-BD0E-4175-9141-616ABD8791E8}" dt="2025-03-19T06:34:26.814" v="32" actId="47"/>
        <pc:sldMkLst>
          <pc:docMk/>
          <pc:sldMk cId="4108446848" sldId="2142533983"/>
        </pc:sldMkLst>
      </pc:sldChg>
      <pc:sldChg chg="del">
        <pc:chgData name="Mayank D, Patel" userId="9535835a-0cb2-4a74-bb95-ec5408ded98e" providerId="ADAL" clId="{317FD57B-BD0E-4175-9141-616ABD8791E8}" dt="2025-03-19T06:34:25.914" v="31" actId="47"/>
        <pc:sldMkLst>
          <pc:docMk/>
          <pc:sldMk cId="1911173904" sldId="2142533985"/>
        </pc:sldMkLst>
      </pc:sldChg>
      <pc:sldChg chg="del">
        <pc:chgData name="Mayank D, Patel" userId="9535835a-0cb2-4a74-bb95-ec5408ded98e" providerId="ADAL" clId="{317FD57B-BD0E-4175-9141-616ABD8791E8}" dt="2025-03-19T06:34:25.476" v="30" actId="47"/>
        <pc:sldMkLst>
          <pc:docMk/>
          <pc:sldMk cId="1818249929" sldId="2142533986"/>
        </pc:sldMkLst>
      </pc:sldChg>
      <pc:sldChg chg="del">
        <pc:chgData name="Mayank D, Patel" userId="9535835a-0cb2-4a74-bb95-ec5408ded98e" providerId="ADAL" clId="{317FD57B-BD0E-4175-9141-616ABD8791E8}" dt="2025-03-19T06:34:31.182" v="37" actId="47"/>
        <pc:sldMkLst>
          <pc:docMk/>
          <pc:sldMk cId="1190194036" sldId="2142533990"/>
        </pc:sldMkLst>
      </pc:sldChg>
      <pc:sldChg chg="del">
        <pc:chgData name="Mayank D, Patel" userId="9535835a-0cb2-4a74-bb95-ec5408ded98e" providerId="ADAL" clId="{317FD57B-BD0E-4175-9141-616ABD8791E8}" dt="2025-03-19T06:34:27.331" v="33" actId="47"/>
        <pc:sldMkLst>
          <pc:docMk/>
          <pc:sldMk cId="1671302870" sldId="2142533991"/>
        </pc:sldMkLst>
      </pc:sldChg>
      <pc:sldChg chg="del">
        <pc:chgData name="Mayank D, Patel" userId="9535835a-0cb2-4a74-bb95-ec5408ded98e" providerId="ADAL" clId="{317FD57B-BD0E-4175-9141-616ABD8791E8}" dt="2025-03-19T06:34:24.688" v="29" actId="47"/>
        <pc:sldMkLst>
          <pc:docMk/>
          <pc:sldMk cId="3080461940" sldId="2142533993"/>
        </pc:sldMkLst>
      </pc:sldChg>
      <pc:sldChg chg="del">
        <pc:chgData name="Mayank D, Patel" userId="9535835a-0cb2-4a74-bb95-ec5408ded98e" providerId="ADAL" clId="{317FD57B-BD0E-4175-9141-616ABD8791E8}" dt="2025-03-19T06:34:28.218" v="34" actId="47"/>
        <pc:sldMkLst>
          <pc:docMk/>
          <pc:sldMk cId="2023129858" sldId="2142533994"/>
        </pc:sldMkLst>
      </pc:sldChg>
      <pc:sldChg chg="del">
        <pc:chgData name="Mayank D, Patel" userId="9535835a-0cb2-4a74-bb95-ec5408ded98e" providerId="ADAL" clId="{317FD57B-BD0E-4175-9141-616ABD8791E8}" dt="2025-03-19T06:34:29.336" v="35" actId="47"/>
        <pc:sldMkLst>
          <pc:docMk/>
          <pc:sldMk cId="85711553" sldId="2142533995"/>
        </pc:sldMkLst>
      </pc:sldChg>
      <pc:sldChg chg="del">
        <pc:chgData name="Mayank D, Patel" userId="9535835a-0cb2-4a74-bb95-ec5408ded98e" providerId="ADAL" clId="{317FD57B-BD0E-4175-9141-616ABD8791E8}" dt="2025-03-19T06:34:30.036" v="36" actId="47"/>
        <pc:sldMkLst>
          <pc:docMk/>
          <pc:sldMk cId="3925610412" sldId="2142533996"/>
        </pc:sldMkLst>
      </pc:sldChg>
      <pc:sldChg chg="del">
        <pc:chgData name="Mayank D, Patel" userId="9535835a-0cb2-4a74-bb95-ec5408ded98e" providerId="ADAL" clId="{317FD57B-BD0E-4175-9141-616ABD8791E8}" dt="2025-03-19T06:34:31.746" v="38" actId="47"/>
        <pc:sldMkLst>
          <pc:docMk/>
          <pc:sldMk cId="614338482" sldId="2142533997"/>
        </pc:sldMkLst>
      </pc:sldChg>
      <pc:sldChg chg="del">
        <pc:chgData name="Mayank D, Patel" userId="9535835a-0cb2-4a74-bb95-ec5408ded98e" providerId="ADAL" clId="{317FD57B-BD0E-4175-9141-616ABD8791E8}" dt="2025-03-19T06:34:14.291" v="22" actId="47"/>
        <pc:sldMkLst>
          <pc:docMk/>
          <pc:sldMk cId="4087352170" sldId="2142534103"/>
        </pc:sldMkLst>
      </pc:sldChg>
      <pc:sldChg chg="del">
        <pc:chgData name="Mayank D, Patel" userId="9535835a-0cb2-4a74-bb95-ec5408ded98e" providerId="ADAL" clId="{317FD57B-BD0E-4175-9141-616ABD8791E8}" dt="2025-03-19T06:34:19.844" v="25" actId="47"/>
        <pc:sldMkLst>
          <pc:docMk/>
          <pc:sldMk cId="3173489698" sldId="2142534110"/>
        </pc:sldMkLst>
      </pc:sldChg>
      <pc:sldChg chg="del">
        <pc:chgData name="Mayank D, Patel" userId="9535835a-0cb2-4a74-bb95-ec5408ded98e" providerId="ADAL" clId="{317FD57B-BD0E-4175-9141-616ABD8791E8}" dt="2025-03-19T06:34:18.912" v="24" actId="47"/>
        <pc:sldMkLst>
          <pc:docMk/>
          <pc:sldMk cId="1288680468" sldId="2142534113"/>
        </pc:sldMkLst>
      </pc:sldChg>
      <pc:sldChg chg="del">
        <pc:chgData name="Mayank D, Patel" userId="9535835a-0cb2-4a74-bb95-ec5408ded98e" providerId="ADAL" clId="{317FD57B-BD0E-4175-9141-616ABD8791E8}" dt="2025-03-19T06:34:10.366" v="20" actId="47"/>
        <pc:sldMkLst>
          <pc:docMk/>
          <pc:sldMk cId="4114385052" sldId="2142534114"/>
        </pc:sldMkLst>
      </pc:sldChg>
      <pc:sldChg chg="del">
        <pc:chgData name="Mayank D, Patel" userId="9535835a-0cb2-4a74-bb95-ec5408ded98e" providerId="ADAL" clId="{317FD57B-BD0E-4175-9141-616ABD8791E8}" dt="2025-03-19T06:34:11.566" v="21" actId="47"/>
        <pc:sldMkLst>
          <pc:docMk/>
          <pc:sldMk cId="1943284231" sldId="2142534116"/>
        </pc:sldMkLst>
      </pc:sldChg>
      <pc:sldChg chg="del">
        <pc:chgData name="Mayank D, Patel" userId="9535835a-0cb2-4a74-bb95-ec5408ded98e" providerId="ADAL" clId="{317FD57B-BD0E-4175-9141-616ABD8791E8}" dt="2025-03-19T06:34:21.091" v="26" actId="47"/>
        <pc:sldMkLst>
          <pc:docMk/>
          <pc:sldMk cId="320038921" sldId="2142534117"/>
        </pc:sldMkLst>
      </pc:sldChg>
      <pc:sldChg chg="del">
        <pc:chgData name="Mayank D, Patel" userId="9535835a-0cb2-4a74-bb95-ec5408ded98e" providerId="ADAL" clId="{317FD57B-BD0E-4175-9141-616ABD8791E8}" dt="2025-03-19T06:34:18.313" v="23" actId="47"/>
        <pc:sldMkLst>
          <pc:docMk/>
          <pc:sldMk cId="682739771" sldId="2142534118"/>
        </pc:sldMkLst>
      </pc:sldChg>
      <pc:sldChg chg="modSp mod">
        <pc:chgData name="Mayank D, Patel" userId="9535835a-0cb2-4a74-bb95-ec5408ded98e" providerId="ADAL" clId="{317FD57B-BD0E-4175-9141-616ABD8791E8}" dt="2025-03-19T06:34:01.927" v="19" actId="20577"/>
        <pc:sldMkLst>
          <pc:docMk/>
          <pc:sldMk cId="2553683145" sldId="2142534120"/>
        </pc:sldMkLst>
        <pc:spChg chg="mod">
          <ac:chgData name="Mayank D, Patel" userId="9535835a-0cb2-4a74-bb95-ec5408ded98e" providerId="ADAL" clId="{317FD57B-BD0E-4175-9141-616ABD8791E8}" dt="2025-03-19T06:34:01.927" v="19" actId="20577"/>
          <ac:spMkLst>
            <pc:docMk/>
            <pc:sldMk cId="2553683145" sldId="2142534120"/>
            <ac:spMk id="2" creationId="{DB78EE6A-F986-34CF-DB8D-D68F568650F7}"/>
          </ac:spMkLst>
        </pc:spChg>
      </pc:sldChg>
      <pc:sldChg chg="del">
        <pc:chgData name="Mayank D, Patel" userId="9535835a-0cb2-4a74-bb95-ec5408ded98e" providerId="ADAL" clId="{317FD57B-BD0E-4175-9141-616ABD8791E8}" dt="2025-03-19T06:34:23.476" v="27" actId="47"/>
        <pc:sldMkLst>
          <pc:docMk/>
          <pc:sldMk cId="1273558752" sldId="2142534121"/>
        </pc:sldMkLst>
      </pc:sldChg>
      <pc:sldChg chg="del">
        <pc:chgData name="Mayank D, Patel" userId="9535835a-0cb2-4a74-bb95-ec5408ded98e" providerId="ADAL" clId="{317FD57B-BD0E-4175-9141-616ABD8791E8}" dt="2025-03-19T07:09:17.140" v="44" actId="47"/>
        <pc:sldMkLst>
          <pc:docMk/>
          <pc:sldMk cId="2349378608" sldId="2147374536"/>
        </pc:sldMkLst>
      </pc:sldChg>
      <pc:sldChg chg="del">
        <pc:chgData name="Mayank D, Patel" userId="9535835a-0cb2-4a74-bb95-ec5408ded98e" providerId="ADAL" clId="{317FD57B-BD0E-4175-9141-616ABD8791E8}" dt="2025-03-19T07:08:54.437" v="40" actId="47"/>
        <pc:sldMkLst>
          <pc:docMk/>
          <pc:sldMk cId="2667577354" sldId="2147374540"/>
        </pc:sldMkLst>
      </pc:sldChg>
      <pc:sldChg chg="del">
        <pc:chgData name="Mayank D, Patel" userId="9535835a-0cb2-4a74-bb95-ec5408ded98e" providerId="ADAL" clId="{317FD57B-BD0E-4175-9141-616ABD8791E8}" dt="2025-03-19T07:09:04.490" v="42" actId="47"/>
        <pc:sldMkLst>
          <pc:docMk/>
          <pc:sldMk cId="270685483" sldId="2147374545"/>
        </pc:sldMkLst>
      </pc:sldChg>
      <pc:sldChg chg="del">
        <pc:chgData name="Mayank D, Patel" userId="9535835a-0cb2-4a74-bb95-ec5408ded98e" providerId="ADAL" clId="{317FD57B-BD0E-4175-9141-616ABD8791E8}" dt="2025-03-19T07:09:49.685" v="49" actId="47"/>
        <pc:sldMkLst>
          <pc:docMk/>
          <pc:sldMk cId="2298897251" sldId="2147374562"/>
        </pc:sldMkLst>
      </pc:sldChg>
      <pc:sldChg chg="del">
        <pc:chgData name="Mayank D, Patel" userId="9535835a-0cb2-4a74-bb95-ec5408ded98e" providerId="ADAL" clId="{317FD57B-BD0E-4175-9141-616ABD8791E8}" dt="2025-03-19T07:09:08.017" v="43" actId="47"/>
        <pc:sldMkLst>
          <pc:docMk/>
          <pc:sldMk cId="728603273" sldId="2147374566"/>
        </pc:sldMkLst>
      </pc:sldChg>
      <pc:sldChg chg="addSp delSp modSp add del mod">
        <pc:chgData name="Mayank D, Patel" userId="9535835a-0cb2-4a74-bb95-ec5408ded98e" providerId="ADAL" clId="{317FD57B-BD0E-4175-9141-616ABD8791E8}" dt="2025-03-19T07:19:36.520" v="131" actId="1036"/>
        <pc:sldMkLst>
          <pc:docMk/>
          <pc:sldMk cId="2547922072" sldId="2147374580"/>
        </pc:sldMkLst>
        <pc:spChg chg="mod">
          <ac:chgData name="Mayank D, Patel" userId="9535835a-0cb2-4a74-bb95-ec5408ded98e" providerId="ADAL" clId="{317FD57B-BD0E-4175-9141-616ABD8791E8}" dt="2025-03-19T07:19:36.520" v="131" actId="1036"/>
          <ac:spMkLst>
            <pc:docMk/>
            <pc:sldMk cId="2547922072" sldId="2147374580"/>
            <ac:spMk id="2" creationId="{62BD4C9F-D0F2-4DDB-25B1-93856A5D77C5}"/>
          </ac:spMkLst>
        </pc:spChg>
        <pc:spChg chg="del">
          <ac:chgData name="Mayank D, Patel" userId="9535835a-0cb2-4a74-bb95-ec5408ded98e" providerId="ADAL" clId="{317FD57B-BD0E-4175-9141-616ABD8791E8}" dt="2025-03-19T07:15:44.210" v="63" actId="478"/>
          <ac:spMkLst>
            <pc:docMk/>
            <pc:sldMk cId="2547922072" sldId="2147374580"/>
            <ac:spMk id="5" creationId="{8793DD4E-DF26-4FA3-2303-4325922ACCF0}"/>
          </ac:spMkLst>
        </pc:spChg>
        <pc:spChg chg="del">
          <ac:chgData name="Mayank D, Patel" userId="9535835a-0cb2-4a74-bb95-ec5408ded98e" providerId="ADAL" clId="{317FD57B-BD0E-4175-9141-616ABD8791E8}" dt="2025-03-19T07:13:18.853" v="55" actId="478"/>
          <ac:spMkLst>
            <pc:docMk/>
            <pc:sldMk cId="2547922072" sldId="2147374580"/>
            <ac:spMk id="10" creationId="{72B357E5-4664-154A-465D-BAC09E0FFA87}"/>
          </ac:spMkLst>
        </pc:spChg>
        <pc:spChg chg="del">
          <ac:chgData name="Mayank D, Patel" userId="9535835a-0cb2-4a74-bb95-ec5408ded98e" providerId="ADAL" clId="{317FD57B-BD0E-4175-9141-616ABD8791E8}" dt="2025-03-19T07:13:20.974" v="56" actId="478"/>
          <ac:spMkLst>
            <pc:docMk/>
            <pc:sldMk cId="2547922072" sldId="2147374580"/>
            <ac:spMk id="11" creationId="{2E6ABD0E-C340-460D-766A-5003B55D63DC}"/>
          </ac:spMkLst>
        </pc:spChg>
        <pc:picChg chg="del">
          <ac:chgData name="Mayank D, Patel" userId="9535835a-0cb2-4a74-bb95-ec5408ded98e" providerId="ADAL" clId="{317FD57B-BD0E-4175-9141-616ABD8791E8}" dt="2025-03-19T07:13:07.937" v="51" actId="478"/>
          <ac:picMkLst>
            <pc:docMk/>
            <pc:sldMk cId="2547922072" sldId="2147374580"/>
            <ac:picMk id="6" creationId="{9FD99C46-0EE4-77D3-63D4-34CD02687BC5}"/>
          </ac:picMkLst>
        </pc:picChg>
        <pc:picChg chg="del">
          <ac:chgData name="Mayank D, Patel" userId="9535835a-0cb2-4a74-bb95-ec5408ded98e" providerId="ADAL" clId="{317FD57B-BD0E-4175-9141-616ABD8791E8}" dt="2025-03-19T07:13:10.346" v="52" actId="478"/>
          <ac:picMkLst>
            <pc:docMk/>
            <pc:sldMk cId="2547922072" sldId="2147374580"/>
            <ac:picMk id="7" creationId="{80EF86C0-5E2F-0568-E2AA-123BB515DEDC}"/>
          </ac:picMkLst>
        </pc:picChg>
        <pc:picChg chg="del">
          <ac:chgData name="Mayank D, Patel" userId="9535835a-0cb2-4a74-bb95-ec5408ded98e" providerId="ADAL" clId="{317FD57B-BD0E-4175-9141-616ABD8791E8}" dt="2025-03-19T07:13:14.752" v="54" actId="478"/>
          <ac:picMkLst>
            <pc:docMk/>
            <pc:sldMk cId="2547922072" sldId="2147374580"/>
            <ac:picMk id="8" creationId="{D81B6E09-BE0C-238E-7CCF-3CF0507BEB76}"/>
          </ac:picMkLst>
        </pc:picChg>
        <pc:picChg chg="del">
          <ac:chgData name="Mayank D, Patel" userId="9535835a-0cb2-4a74-bb95-ec5408ded98e" providerId="ADAL" clId="{317FD57B-BD0E-4175-9141-616ABD8791E8}" dt="2025-03-19T07:13:12.219" v="53" actId="478"/>
          <ac:picMkLst>
            <pc:docMk/>
            <pc:sldMk cId="2547922072" sldId="2147374580"/>
            <ac:picMk id="9" creationId="{70976FAA-4FF4-C9C1-EEBC-90C88A625736}"/>
          </ac:picMkLst>
        </pc:picChg>
        <pc:picChg chg="add mod">
          <ac:chgData name="Mayank D, Patel" userId="9535835a-0cb2-4a74-bb95-ec5408ded98e" providerId="ADAL" clId="{317FD57B-BD0E-4175-9141-616ABD8791E8}" dt="2025-03-19T07:19:25.174" v="130" actId="1036"/>
          <ac:picMkLst>
            <pc:docMk/>
            <pc:sldMk cId="2547922072" sldId="2147374580"/>
            <ac:picMk id="12" creationId="{0287F8BA-5503-3F0D-7789-72DEE7E87A9E}"/>
          </ac:picMkLst>
        </pc:picChg>
      </pc:sldChg>
      <pc:sldChg chg="del">
        <pc:chgData name="Mayank D, Patel" userId="9535835a-0cb2-4a74-bb95-ec5408ded98e" providerId="ADAL" clId="{317FD57B-BD0E-4175-9141-616ABD8791E8}" dt="2025-03-19T07:09:44.533" v="47" actId="47"/>
        <pc:sldMkLst>
          <pc:docMk/>
          <pc:sldMk cId="1652707254" sldId="2147374581"/>
        </pc:sldMkLst>
      </pc:sldChg>
      <pc:sldChg chg="addSp delSp modSp new mod">
        <pc:chgData name="Mayank D, Patel" userId="9535835a-0cb2-4a74-bb95-ec5408ded98e" providerId="ADAL" clId="{317FD57B-BD0E-4175-9141-616ABD8791E8}" dt="2025-03-19T07:20:31.042" v="148" actId="1035"/>
        <pc:sldMkLst>
          <pc:docMk/>
          <pc:sldMk cId="1843102552" sldId="2147374581"/>
        </pc:sldMkLst>
        <pc:spChg chg="mod">
          <ac:chgData name="Mayank D, Patel" userId="9535835a-0cb2-4a74-bb95-ec5408ded98e" providerId="ADAL" clId="{317FD57B-BD0E-4175-9141-616ABD8791E8}" dt="2025-03-19T07:20:03.571" v="139" actId="1036"/>
          <ac:spMkLst>
            <pc:docMk/>
            <pc:sldMk cId="1843102552" sldId="2147374581"/>
            <ac:spMk id="2" creationId="{34AA25AF-F16B-90FD-1F7C-65CAF523DC10}"/>
          </ac:spMkLst>
        </pc:spChg>
        <pc:spChg chg="del">
          <ac:chgData name="Mayank D, Patel" userId="9535835a-0cb2-4a74-bb95-ec5408ded98e" providerId="ADAL" clId="{317FD57B-BD0E-4175-9141-616ABD8791E8}" dt="2025-03-19T07:17:50.919" v="83" actId="478"/>
          <ac:spMkLst>
            <pc:docMk/>
            <pc:sldMk cId="1843102552" sldId="2147374581"/>
            <ac:spMk id="3" creationId="{E4B1B94F-5A4D-B35E-98FE-C43D4A96C14F}"/>
          </ac:spMkLst>
        </pc:spChg>
        <pc:spChg chg="del">
          <ac:chgData name="Mayank D, Patel" userId="9535835a-0cb2-4a74-bb95-ec5408ded98e" providerId="ADAL" clId="{317FD57B-BD0E-4175-9141-616ABD8791E8}" dt="2025-03-19T07:17:41.930" v="81" actId="478"/>
          <ac:spMkLst>
            <pc:docMk/>
            <pc:sldMk cId="1843102552" sldId="2147374581"/>
            <ac:spMk id="4" creationId="{0E75A9C6-D607-9686-91CE-71E596A5BAA7}"/>
          </ac:spMkLst>
        </pc:spChg>
        <pc:picChg chg="add mod">
          <ac:chgData name="Mayank D, Patel" userId="9535835a-0cb2-4a74-bb95-ec5408ded98e" providerId="ADAL" clId="{317FD57B-BD0E-4175-9141-616ABD8791E8}" dt="2025-03-19T07:20:31.042" v="148" actId="1035"/>
          <ac:picMkLst>
            <pc:docMk/>
            <pc:sldMk cId="1843102552" sldId="2147374581"/>
            <ac:picMk id="6" creationId="{5DEFC6F4-4D57-8A34-D550-B54C57D4843C}"/>
          </ac:picMkLst>
        </pc:picChg>
      </pc:sldChg>
      <pc:sldChg chg="del">
        <pc:chgData name="Mayank D, Patel" userId="9535835a-0cb2-4a74-bb95-ec5408ded98e" providerId="ADAL" clId="{317FD57B-BD0E-4175-9141-616ABD8791E8}" dt="2025-03-19T07:09:45.914" v="48" actId="47"/>
        <pc:sldMkLst>
          <pc:docMk/>
          <pc:sldMk cId="794224204" sldId="2147374582"/>
        </pc:sldMkLst>
      </pc:sldChg>
      <pc:sldChg chg="addSp delSp modSp new mod">
        <pc:chgData name="Mayank D, Patel" userId="9535835a-0cb2-4a74-bb95-ec5408ded98e" providerId="ADAL" clId="{317FD57B-BD0E-4175-9141-616ABD8791E8}" dt="2025-03-19T07:23:21.598" v="188" actId="14100"/>
        <pc:sldMkLst>
          <pc:docMk/>
          <pc:sldMk cId="3007485619" sldId="2147374582"/>
        </pc:sldMkLst>
        <pc:spChg chg="del">
          <ac:chgData name="Mayank D, Patel" userId="9535835a-0cb2-4a74-bb95-ec5408ded98e" providerId="ADAL" clId="{317FD57B-BD0E-4175-9141-616ABD8791E8}" dt="2025-03-19T07:22:21.894" v="150" actId="478"/>
          <ac:spMkLst>
            <pc:docMk/>
            <pc:sldMk cId="3007485619" sldId="2147374582"/>
            <ac:spMk id="2" creationId="{C17EFBC6-17D3-77D4-EC47-448931FBA527}"/>
          </ac:spMkLst>
        </pc:spChg>
        <pc:spChg chg="mod">
          <ac:chgData name="Mayank D, Patel" userId="9535835a-0cb2-4a74-bb95-ec5408ded98e" providerId="ADAL" clId="{317FD57B-BD0E-4175-9141-616ABD8791E8}" dt="2025-03-19T07:23:13.238" v="177" actId="14100"/>
          <ac:spMkLst>
            <pc:docMk/>
            <pc:sldMk cId="3007485619" sldId="2147374582"/>
            <ac:spMk id="3" creationId="{E4FC4890-53A2-31B3-43C6-1ACAA1687B6C}"/>
          </ac:spMkLst>
        </pc:spChg>
        <pc:picChg chg="add mod">
          <ac:chgData name="Mayank D, Patel" userId="9535835a-0cb2-4a74-bb95-ec5408ded98e" providerId="ADAL" clId="{317FD57B-BD0E-4175-9141-616ABD8791E8}" dt="2025-03-19T07:23:21.598" v="188" actId="14100"/>
          <ac:picMkLst>
            <pc:docMk/>
            <pc:sldMk cId="3007485619" sldId="2147374582"/>
            <ac:picMk id="5" creationId="{42B64EB9-CB61-8232-F0A1-BB334F085612}"/>
          </ac:picMkLst>
        </pc:picChg>
      </pc:sldChg>
      <pc:sldChg chg="del">
        <pc:chgData name="Mayank D, Patel" userId="9535835a-0cb2-4a74-bb95-ec5408ded98e" providerId="ADAL" clId="{317FD57B-BD0E-4175-9141-616ABD8791E8}" dt="2025-03-19T07:09:54.662" v="50" actId="47"/>
        <pc:sldMkLst>
          <pc:docMk/>
          <pc:sldMk cId="3824501542" sldId="2147374585"/>
        </pc:sldMkLst>
      </pc:sldChg>
      <pc:sldChg chg="del">
        <pc:chgData name="Mayank D, Patel" userId="9535835a-0cb2-4a74-bb95-ec5408ded98e" providerId="ADAL" clId="{317FD57B-BD0E-4175-9141-616ABD8791E8}" dt="2025-03-19T07:09:00.952" v="41" actId="47"/>
        <pc:sldMkLst>
          <pc:docMk/>
          <pc:sldMk cId="3301568610" sldId="2147374587"/>
        </pc:sldMkLst>
      </pc:sldChg>
      <pc:sldChg chg="del">
        <pc:chgData name="Mayank D, Patel" userId="9535835a-0cb2-4a74-bb95-ec5408ded98e" providerId="ADAL" clId="{317FD57B-BD0E-4175-9141-616ABD8791E8}" dt="2025-03-19T06:34:47.921" v="39" actId="47"/>
        <pc:sldMkLst>
          <pc:docMk/>
          <pc:sldMk cId="4207340808" sldId="214737458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7/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7/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9CDFB-9F7A-9683-15BA-6C067E30B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BDB33-19B3-23D9-7A87-ADB51D00A1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5FFE3-B29A-D778-C9AD-A849983A7AE1}"/>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1C4EF1D0-6062-0728-C98E-C127624760A5}"/>
              </a:ext>
            </a:extLst>
          </p:cNvPr>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484238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33.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32.xml"/><Relationship Id="rId16" Type="http://schemas.openxmlformats.org/officeDocument/2006/relationships/image" Target="../media/image13.png"/><Relationship Id="rId1" Type="http://schemas.openxmlformats.org/officeDocument/2006/relationships/tags" Target="../tags/tag31.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34.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41.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40.xml"/><Relationship Id="rId16" Type="http://schemas.openxmlformats.org/officeDocument/2006/relationships/image" Target="../media/image13.png"/><Relationship Id="rId1" Type="http://schemas.openxmlformats.org/officeDocument/2006/relationships/tags" Target="../tags/tag39.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6.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42.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46.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7.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49.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48.xml"/><Relationship Id="rId16" Type="http://schemas.openxmlformats.org/officeDocument/2006/relationships/image" Target="../media/image13.png"/><Relationship Id="rId1" Type="http://schemas.openxmlformats.org/officeDocument/2006/relationships/tags" Target="../tags/tag47.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7.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50.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52.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53.xml"/><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54.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57.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56.xml"/><Relationship Id="rId16" Type="http://schemas.openxmlformats.org/officeDocument/2006/relationships/image" Target="../media/image13.png"/><Relationship Id="rId1" Type="http://schemas.openxmlformats.org/officeDocument/2006/relationships/tags" Target="../tags/tag55.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8.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58.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6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61.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62.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9.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65.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64.xml"/><Relationship Id="rId16" Type="http://schemas.openxmlformats.org/officeDocument/2006/relationships/image" Target="../media/image13.png"/><Relationship Id="rId1" Type="http://schemas.openxmlformats.org/officeDocument/2006/relationships/tags" Target="../tags/tag63.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9.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66.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17.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16.xml"/><Relationship Id="rId16" Type="http://schemas.openxmlformats.org/officeDocument/2006/relationships/image" Target="../media/image13.png"/><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25.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8.png"/><Relationship Id="rId2" Type="http://schemas.openxmlformats.org/officeDocument/2006/relationships/tags" Target="../tags/tag24.xml"/><Relationship Id="rId16" Type="http://schemas.openxmlformats.org/officeDocument/2006/relationships/image" Target="../media/image13.png"/><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26.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0" y="-583910"/>
            <a:ext cx="8184232" cy="744191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245924685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0971508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84568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061080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2565223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63242361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8005653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097611869"/>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91462294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17991606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04013479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3296800" cy="542875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6247668"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6343418"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836372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466550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7103129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477428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71294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988624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9153904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0682488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780976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09247316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137122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6951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2961695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559590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49629652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7362968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093589384"/>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024646943"/>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3251577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6844374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760396" y="-2458091"/>
            <a:ext cx="9115703" cy="9516479"/>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pic>
        <p:nvPicPr>
          <p:cNvPr id="20" name="Image 19">
            <a:extLst>
              <a:ext uri="{FF2B5EF4-FFF2-40B4-BE49-F238E27FC236}">
                <a16:creationId xmlns:a16="http://schemas.microsoft.com/office/drawing/2014/main" id="{557F3EC6-6AB7-49CB-8BF2-B714521A094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
        <p:nvSpPr>
          <p:cNvPr id="11" name="Title 1"/>
          <p:cNvSpPr>
            <a:spLocks noGrp="1"/>
          </p:cNvSpPr>
          <p:nvPr>
            <p:ph type="ctrTitle" hasCustomPrompt="1"/>
          </p:nvPr>
        </p:nvSpPr>
        <p:spPr>
          <a:xfrm>
            <a:off x="5591944" y="253648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5591944" y="436527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013191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872805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72435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107989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989576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8379385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4561167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15183259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3950314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29154143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15955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877205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53108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94924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2744412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05633498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734488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825271651"/>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593888273"/>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36831704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57187211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933356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19882705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9909948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299804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548399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816082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06940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982151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56653488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294729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1727343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95894357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287968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01624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266436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65899820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42467428"/>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82677163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068376152"/>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485109571"/>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F3D35-00ED-4B62-8EFD-76C9E8A486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93E95-7CA2-402D-A7FC-E1B3623A4C3D}"/>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54D618-F8FA-4EEF-A824-B2DFBE9F49B0}"/>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6CB4F3-EF3F-44E9-AE6C-4AA6C291CB9C}"/>
              </a:ext>
            </a:extLst>
          </p:cNvPr>
          <p:cNvSpPr>
            <a:spLocks noGrp="1"/>
          </p:cNvSpPr>
          <p:nvPr>
            <p:ph type="dt" sz="half" idx="10"/>
          </p:nvPr>
        </p:nvSpPr>
        <p:spPr/>
        <p:txBody>
          <a:bodyPr/>
          <a:lstStyle/>
          <a:p>
            <a:fld id="{40FFF09B-84A9-477F-9A08-B016B14AE8BF}" type="datetimeFigureOut">
              <a:rPr lang="en-US" smtClean="0"/>
              <a:t>7/8/2025</a:t>
            </a:fld>
            <a:endParaRPr lang="en-US" dirty="0"/>
          </a:p>
        </p:txBody>
      </p:sp>
      <p:sp>
        <p:nvSpPr>
          <p:cNvPr id="6" name="Footer Placeholder 5">
            <a:extLst>
              <a:ext uri="{FF2B5EF4-FFF2-40B4-BE49-F238E27FC236}">
                <a16:creationId xmlns:a16="http://schemas.microsoft.com/office/drawing/2014/main" id="{B49EFBB8-C40D-4123-983C-AC48701A8A5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0211647-6E11-4963-9896-DEF6CE714819}"/>
              </a:ext>
            </a:extLst>
          </p:cNvPr>
          <p:cNvSpPr>
            <a:spLocks noGrp="1"/>
          </p:cNvSpPr>
          <p:nvPr>
            <p:ph type="sldNum" sz="quarter" idx="12"/>
          </p:nvPr>
        </p:nvSpPr>
        <p:spPr/>
        <p:txBody>
          <a:bodyPr/>
          <a:lstStyle/>
          <a:p>
            <a:fld id="{8434AAA4-78C2-44F5-8220-5D472E3BDB7D}" type="slidenum">
              <a:rPr lang="en-US" smtClean="0"/>
              <a:t>‹#›</a:t>
            </a:fld>
            <a:endParaRPr lang="en-US" dirty="0"/>
          </a:p>
        </p:txBody>
      </p:sp>
    </p:spTree>
    <p:extLst>
      <p:ext uri="{BB962C8B-B14F-4D97-AF65-F5344CB8AC3E}">
        <p14:creationId xmlns:p14="http://schemas.microsoft.com/office/powerpoint/2010/main" val="23753006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80EACDE-8C8C-4178-BA2B-EF76F6703DFD}" type="datetimeFigureOut">
              <a:rPr lang="en-US" smtClean="0"/>
              <a:t>7/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BEC1F-AEA9-4F18-8A6B-DCA66873B7CB}" type="slidenum">
              <a:rPr lang="en-US" smtClean="0"/>
              <a:t>‹#›</a:t>
            </a:fld>
            <a:endParaRPr lang="en-US"/>
          </a:p>
        </p:txBody>
      </p:sp>
    </p:spTree>
    <p:extLst>
      <p:ext uri="{BB962C8B-B14F-4D97-AF65-F5344CB8AC3E}">
        <p14:creationId xmlns:p14="http://schemas.microsoft.com/office/powerpoint/2010/main" val="3984748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41942643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870566235"/>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437156738"/>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12900470"/>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37276221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577745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1698799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77811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451056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9744667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0631334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270468969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7915563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2101739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688710470"/>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445279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02968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3047087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0535050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166937139"/>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9185859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9260597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27826867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722045443"/>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80EACDE-8C8C-4178-BA2B-EF76F6703DFD}" type="datetimeFigureOut">
              <a:rPr lang="en-US" smtClean="0"/>
              <a:t>7/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BEC1F-AEA9-4F18-8A6B-DCA66873B7CB}" type="slidenum">
              <a:rPr lang="en-US" smtClean="0"/>
              <a:t>‹#›</a:t>
            </a:fld>
            <a:endParaRPr lang="en-US"/>
          </a:p>
        </p:txBody>
      </p:sp>
    </p:spTree>
    <p:extLst>
      <p:ext uri="{BB962C8B-B14F-4D97-AF65-F5344CB8AC3E}">
        <p14:creationId xmlns:p14="http://schemas.microsoft.com/office/powerpoint/2010/main" val="961517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6179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7353724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988383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792963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8468552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962927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4848319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092169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3407048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718001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184957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8419712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r>
              <a:rPr lang="en-US" noProof="0"/>
              <a:t>Date</a:t>
            </a:r>
            <a:endParaRPr lang="en-US" noProof="0" dirty="0"/>
          </a:p>
        </p:txBody>
      </p:sp>
      <p:sp>
        <p:nvSpPr>
          <p:cNvPr id="8" name="Espace réservé du pied de page 7"/>
          <p:cNvSpPr>
            <a:spLocks noGrp="1"/>
          </p:cNvSpPr>
          <p:nvPr>
            <p:ph type="ftr" sz="quarter" idx="11"/>
          </p:nvPr>
        </p:nvSpPr>
        <p:spPr bwMode="gray"/>
        <p:txBody>
          <a:bodyPr/>
          <a:lstStyle/>
          <a:p>
            <a:endParaRPr lang="en-US"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dirty="0"/>
          </a:p>
        </p:txBody>
      </p:sp>
    </p:spTree>
    <p:extLst>
      <p:ext uri="{BB962C8B-B14F-4D97-AF65-F5344CB8AC3E}">
        <p14:creationId xmlns:p14="http://schemas.microsoft.com/office/powerpoint/2010/main" val="36616589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r>
              <a:rPr lang="en-US" noProof="0"/>
              <a:t>Date</a:t>
            </a:r>
            <a:endParaRPr lang="en-US" noProof="0" dirty="0"/>
          </a:p>
        </p:txBody>
      </p:sp>
      <p:sp>
        <p:nvSpPr>
          <p:cNvPr id="8" name="Espace réservé du pied de page 7"/>
          <p:cNvSpPr>
            <a:spLocks noGrp="1"/>
          </p:cNvSpPr>
          <p:nvPr>
            <p:ph type="ftr" sz="quarter" idx="11"/>
          </p:nvPr>
        </p:nvSpPr>
        <p:spPr bwMode="gray"/>
        <p:txBody>
          <a:bodyPr/>
          <a:lstStyle/>
          <a:p>
            <a:endParaRPr lang="en-US"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dirty="0"/>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34645413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Tree>
    <p:extLst>
      <p:ext uri="{BB962C8B-B14F-4D97-AF65-F5344CB8AC3E}">
        <p14:creationId xmlns:p14="http://schemas.microsoft.com/office/powerpoint/2010/main" val="34344859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14154319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160461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16439663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4048372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050758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8485922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22495951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0EACDE-8C8C-4178-BA2B-EF76F6703DFD}" type="datetimeFigureOut">
              <a:rPr lang="en-US" smtClean="0"/>
              <a:t>7/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BEC1F-AEA9-4F18-8A6B-DCA66873B7CB}" type="slidenum">
              <a:rPr lang="en-US" smtClean="0"/>
              <a:t>‹#›</a:t>
            </a:fld>
            <a:endParaRPr lang="en-US"/>
          </a:p>
        </p:txBody>
      </p:sp>
    </p:spTree>
    <p:extLst>
      <p:ext uri="{BB962C8B-B14F-4D97-AF65-F5344CB8AC3E}">
        <p14:creationId xmlns:p14="http://schemas.microsoft.com/office/powerpoint/2010/main" val="3221665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80EACDE-8C8C-4178-BA2B-EF76F6703DFD}" type="datetimeFigureOut">
              <a:rPr lang="en-US" smtClean="0"/>
              <a:t>7/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BEC1F-AEA9-4F18-8A6B-DCA66873B7CB}" type="slidenum">
              <a:rPr lang="en-US" smtClean="0"/>
              <a:t>‹#›</a:t>
            </a:fld>
            <a:endParaRPr lang="en-US"/>
          </a:p>
        </p:txBody>
      </p:sp>
    </p:spTree>
    <p:extLst>
      <p:ext uri="{BB962C8B-B14F-4D97-AF65-F5344CB8AC3E}">
        <p14:creationId xmlns:p14="http://schemas.microsoft.com/office/powerpoint/2010/main" val="11952849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95827283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85675623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88316181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749361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0084100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7416950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830287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7689836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38442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9288949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375564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825112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5662962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823658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9720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2771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7564629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1471401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8421593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709370064"/>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448275916"/>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F3D35-00ED-4B62-8EFD-76C9E8A486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93E95-7CA2-402D-A7FC-E1B3623A4C3D}"/>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54D618-F8FA-4EEF-A824-B2DFBE9F49B0}"/>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6CB4F3-EF3F-44E9-AE6C-4AA6C291CB9C}"/>
              </a:ext>
            </a:extLst>
          </p:cNvPr>
          <p:cNvSpPr>
            <a:spLocks noGrp="1"/>
          </p:cNvSpPr>
          <p:nvPr>
            <p:ph type="dt" sz="half" idx="10"/>
          </p:nvPr>
        </p:nvSpPr>
        <p:spPr/>
        <p:txBody>
          <a:bodyPr/>
          <a:lstStyle/>
          <a:p>
            <a:fld id="{40FFF09B-84A9-477F-9A08-B016B14AE8BF}" type="datetimeFigureOut">
              <a:rPr lang="en-US" smtClean="0"/>
              <a:t>7/8/2025</a:t>
            </a:fld>
            <a:endParaRPr lang="en-US" dirty="0"/>
          </a:p>
        </p:txBody>
      </p:sp>
      <p:sp>
        <p:nvSpPr>
          <p:cNvPr id="6" name="Footer Placeholder 5">
            <a:extLst>
              <a:ext uri="{FF2B5EF4-FFF2-40B4-BE49-F238E27FC236}">
                <a16:creationId xmlns:a16="http://schemas.microsoft.com/office/drawing/2014/main" id="{B49EFBB8-C40D-4123-983C-AC48701A8A5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0211647-6E11-4963-9896-DEF6CE714819}"/>
              </a:ext>
            </a:extLst>
          </p:cNvPr>
          <p:cNvSpPr>
            <a:spLocks noGrp="1"/>
          </p:cNvSpPr>
          <p:nvPr>
            <p:ph type="sldNum" sz="quarter" idx="12"/>
          </p:nvPr>
        </p:nvSpPr>
        <p:spPr/>
        <p:txBody>
          <a:bodyPr/>
          <a:lstStyle/>
          <a:p>
            <a:fld id="{8434AAA4-78C2-44F5-8220-5D472E3BDB7D}" type="slidenum">
              <a:rPr lang="en-US" smtClean="0"/>
              <a:t>‹#›</a:t>
            </a:fld>
            <a:endParaRPr lang="en-US" dirty="0"/>
          </a:p>
        </p:txBody>
      </p:sp>
    </p:spTree>
    <p:extLst>
      <p:ext uri="{BB962C8B-B14F-4D97-AF65-F5344CB8AC3E}">
        <p14:creationId xmlns:p14="http://schemas.microsoft.com/office/powerpoint/2010/main" val="2721848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80EACDE-8C8C-4178-BA2B-EF76F6703DFD}" type="datetimeFigureOut">
              <a:rPr lang="en-US" smtClean="0"/>
              <a:t>7/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BEC1F-AEA9-4F18-8A6B-DCA66873B7CB}" type="slidenum">
              <a:rPr lang="en-US" smtClean="0"/>
              <a:t>‹#›</a:t>
            </a:fld>
            <a:endParaRPr lang="en-US"/>
          </a:p>
        </p:txBody>
      </p:sp>
    </p:spTree>
    <p:extLst>
      <p:ext uri="{BB962C8B-B14F-4D97-AF65-F5344CB8AC3E}">
        <p14:creationId xmlns:p14="http://schemas.microsoft.com/office/powerpoint/2010/main" val="24097793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53023777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465521714"/>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8331583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076610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79187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958769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521268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431193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784102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7052043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2019336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332622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67006669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744431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7638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895916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7557571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33804485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1539125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7122830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1230529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58867337"/>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13386348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chemeClr val="accent3"/>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10819992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9539236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46602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89015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754590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201904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024280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1869144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116302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571800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02281275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oleObject" Target="../embeddings/oleObject1.bin"/><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11.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image" Target="../media/image1.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oleObject" Target="../embeddings/oleObject1.bin"/><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ags" Target="../tags/tag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image" Target="../media/image1.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oleObject" Target="../embeddings/oleObject1.bin"/><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ags" Target="../tags/tag2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oleObject" Target="../embeddings/oleObject1.bin"/><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tags" Target="../tags/tag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theme" Target="../theme/theme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image" Target="../media/image1.emf"/><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oleObject" Target="../embeddings/oleObject1.bin"/><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oleObject" Target="../embeddings/oleObject1.bin"/><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tags" Target="../tags/tag5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theme" Target="../theme/theme8.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image" Target="../media/image1.emf"/><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oleObject" Target="../embeddings/oleObject1.bin"/><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tags" Target="../tags/tag59.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theme" Target="../theme/theme9.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923" r:id="rId9"/>
    <p:sldLayoutId id="2147484111" r:id="rId10"/>
    <p:sldLayoutId id="2147483880" r:id="rId11"/>
    <p:sldLayoutId id="2147483841" r:id="rId12"/>
    <p:sldLayoutId id="2147483839" r:id="rId13"/>
    <p:sldLayoutId id="2147484086" r:id="rId1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endParaRPr lang="en-US" dirty="0"/>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fld id="{733122C9-A0B9-462F-8757-0847AD287B63}" type="slidenum">
              <a:rPr lang="en-US" noProof="0" smtClean="0"/>
              <a:pPr/>
              <a:t>‹#›</a:t>
            </a:fld>
            <a:endParaRPr lang="en-US" noProof="0" dirty="0"/>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1219511648"/>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 id="2147483911" r:id="rId19"/>
    <p:sldLayoutId id="2147483912" r:id="rId20"/>
    <p:sldLayoutId id="2147483913" r:id="rId21"/>
    <p:sldLayoutId id="2147483914" r:id="rId22"/>
    <p:sldLayoutId id="2147483915" r:id="rId23"/>
    <p:sldLayoutId id="2147483916" r:id="rId24"/>
    <p:sldLayoutId id="2147483917" r:id="rId25"/>
    <p:sldLayoutId id="2147483918" r:id="rId26"/>
    <p:sldLayoutId id="2147483919" r:id="rId27"/>
    <p:sldLayoutId id="2147483921" r:id="rId28"/>
    <p:sldLayoutId id="2147483922" r:id="rId29"/>
  </p:sldLayoutIdLst>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3350807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487093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9"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83366145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58040481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249731311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002960"/>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323739468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947671176"/>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68183270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048072294"/>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71297443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74987205"/>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60"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309328642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823692991"/>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5"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D1B9C-E104-243F-AFFC-D7EA2F29DC2D}"/>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B78EE6A-F986-34CF-DB8D-D68F568650F7}"/>
              </a:ext>
            </a:extLst>
          </p:cNvPr>
          <p:cNvSpPr>
            <a:spLocks noGrp="1"/>
          </p:cNvSpPr>
          <p:nvPr>
            <p:ph type="body" sz="quarter" idx="11"/>
          </p:nvPr>
        </p:nvSpPr>
        <p:spPr>
          <a:xfrm>
            <a:off x="152400" y="3733800"/>
            <a:ext cx="8610600" cy="1450268"/>
          </a:xfrm>
        </p:spPr>
        <p:txBody>
          <a:bodyPr/>
          <a:lstStyle/>
          <a:p>
            <a:pPr algn="ctr"/>
            <a:r>
              <a:rPr lang="en-US" sz="2400" dirty="0"/>
              <a:t>Connect Direct Windows </a:t>
            </a:r>
          </a:p>
          <a:p>
            <a:pPr algn="ctr"/>
            <a:r>
              <a:rPr lang="en-US" sz="1600" dirty="0"/>
              <a:t>CA-signed certificate authentication for PostgreSQL</a:t>
            </a:r>
          </a:p>
          <a:p>
            <a:pPr algn="ctr"/>
            <a:r>
              <a:rPr lang="en-US" sz="1600" dirty="0"/>
              <a:t>8</a:t>
            </a:r>
            <a:r>
              <a:rPr lang="en-US" sz="1600" baseline="30000" dirty="0"/>
              <a:t>th</a:t>
            </a:r>
            <a:r>
              <a:rPr lang="en-US" sz="1600" dirty="0"/>
              <a:t> July 2025</a:t>
            </a:r>
          </a:p>
        </p:txBody>
      </p:sp>
    </p:spTree>
    <p:extLst>
      <p:ext uri="{BB962C8B-B14F-4D97-AF65-F5344CB8AC3E}">
        <p14:creationId xmlns:p14="http://schemas.microsoft.com/office/powerpoint/2010/main" val="2553683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A7A69-8B27-2DDA-85C6-805810A1AF81}"/>
              </a:ext>
            </a:extLst>
          </p:cNvPr>
          <p:cNvSpPr>
            <a:spLocks noGrp="1"/>
          </p:cNvSpPr>
          <p:nvPr>
            <p:ph type="title"/>
          </p:nvPr>
        </p:nvSpPr>
        <p:spPr>
          <a:xfrm>
            <a:off x="492000" y="914400"/>
            <a:ext cx="11242836" cy="692727"/>
          </a:xfrm>
        </p:spPr>
        <p:txBody>
          <a:bodyPr/>
          <a:lstStyle/>
          <a:p>
            <a:r>
              <a:rPr lang="en-IN" sz="3200" dirty="0"/>
              <a:t>Overview and Installation Enhancements</a:t>
            </a:r>
            <a:endParaRPr lang="en-IN" sz="2000" b="1" dirty="0"/>
          </a:p>
        </p:txBody>
      </p:sp>
      <p:sp>
        <p:nvSpPr>
          <p:cNvPr id="3" name="Text Placeholder 2">
            <a:extLst>
              <a:ext uri="{FF2B5EF4-FFF2-40B4-BE49-F238E27FC236}">
                <a16:creationId xmlns:a16="http://schemas.microsoft.com/office/drawing/2014/main" id="{460A9ADE-70FD-1E2E-9AE7-53FDDFB00353}"/>
              </a:ext>
            </a:extLst>
          </p:cNvPr>
          <p:cNvSpPr>
            <a:spLocks noGrp="1"/>
          </p:cNvSpPr>
          <p:nvPr>
            <p:ph type="body" sz="quarter" idx="10"/>
          </p:nvPr>
        </p:nvSpPr>
        <p:spPr>
          <a:xfrm>
            <a:off x="496665" y="2286000"/>
            <a:ext cx="11700000" cy="2586413"/>
          </a:xfrm>
        </p:spPr>
        <p:txBody>
          <a:bodyPr vert="horz" lIns="0" tIns="0" rIns="0" bIns="0" rtlCol="0" anchor="t">
            <a:noAutofit/>
          </a:bodyPr>
          <a:lstStyle/>
          <a:p>
            <a:pPr marL="342900" indent="-342900">
              <a:buFont typeface="Wingdings" panose="05000000000000000000" pitchFamily="2" charset="2"/>
              <a:buChar char="Ø"/>
            </a:pPr>
            <a:r>
              <a:rPr lang="en-IN" sz="1800" dirty="0"/>
              <a:t>CDW 6.3.0+ already supports self-signed certificate-based authentication. This enhancement introduces support for CA-signed certificate-based authentication.</a:t>
            </a:r>
          </a:p>
          <a:p>
            <a:pPr marL="342900" indent="-342900">
              <a:buFont typeface="Wingdings" panose="05000000000000000000" pitchFamily="2" charset="2"/>
              <a:buChar char="Ø"/>
            </a:pPr>
            <a:r>
              <a:rPr lang="en-IN" sz="1800" dirty="0"/>
              <a:t>Interactive Installation: Users will be able to select CA/Key certificates during setup.</a:t>
            </a:r>
          </a:p>
          <a:p>
            <a:pPr marL="342900" indent="-342900">
              <a:buFont typeface="Wingdings" panose="05000000000000000000" pitchFamily="2" charset="2"/>
              <a:buChar char="Ø"/>
            </a:pPr>
            <a:r>
              <a:rPr lang="en-IN" sz="1800" dirty="0"/>
              <a:t>Silent Installation: New properties will be introduced to specify certificate paths.</a:t>
            </a:r>
          </a:p>
          <a:p>
            <a:pPr marL="342900" indent="-342900">
              <a:buFont typeface="Wingdings" panose="05000000000000000000" pitchFamily="2" charset="2"/>
              <a:buChar char="Ø"/>
            </a:pPr>
            <a:r>
              <a:rPr lang="en-IN" sz="1800" dirty="0"/>
              <a:t>Default </a:t>
            </a:r>
            <a:r>
              <a:rPr lang="en-IN" sz="1800" dirty="0" err="1"/>
              <a:t>Behavior</a:t>
            </a:r>
            <a:r>
              <a:rPr lang="en-IN" sz="1800" dirty="0"/>
              <a:t>: If no certificates are provided, </a:t>
            </a:r>
            <a:r>
              <a:rPr lang="en-IN" sz="1800" dirty="0" err="1"/>
              <a:t>Connect:Direct</a:t>
            </a:r>
            <a:r>
              <a:rPr lang="en-IN" sz="1800" dirty="0"/>
              <a:t> for </a:t>
            </a:r>
            <a:br>
              <a:rPr lang="en-IN" sz="1800" dirty="0"/>
            </a:br>
            <a:r>
              <a:rPr lang="en-IN" sz="1800" dirty="0"/>
              <a:t>Windows will use the default self-signed '</a:t>
            </a:r>
            <a:r>
              <a:rPr lang="en-IN" sz="1800" dirty="0" err="1"/>
              <a:t>cdinternal</a:t>
            </a:r>
            <a:r>
              <a:rPr lang="en-IN" sz="1800" dirty="0"/>
              <a:t>' certificate created during installation.</a:t>
            </a:r>
          </a:p>
        </p:txBody>
      </p:sp>
      <p:sp>
        <p:nvSpPr>
          <p:cNvPr id="4" name="Text Placeholder 3">
            <a:extLst>
              <a:ext uri="{FF2B5EF4-FFF2-40B4-BE49-F238E27FC236}">
                <a16:creationId xmlns:a16="http://schemas.microsoft.com/office/drawing/2014/main" id="{276A89CB-CB70-F8FC-8DD1-B97A83D8DE47}"/>
              </a:ext>
            </a:extLst>
          </p:cNvPr>
          <p:cNvSpPr>
            <a:spLocks noGrp="1"/>
          </p:cNvSpPr>
          <p:nvPr>
            <p:ph type="body" sz="quarter" idx="11"/>
          </p:nvPr>
        </p:nvSpPr>
        <p:spPr>
          <a:xfrm flipV="1">
            <a:off x="492000" y="6858000"/>
            <a:ext cx="11700000" cy="45719"/>
          </a:xfrm>
        </p:spPr>
        <p:txBody>
          <a:bodyPr>
            <a:normAutofit fontScale="25000" lnSpcReduction="20000"/>
          </a:bodyPr>
          <a:lstStyle/>
          <a:p>
            <a:endParaRPr lang="en-IN"/>
          </a:p>
        </p:txBody>
      </p:sp>
    </p:spTree>
    <p:extLst>
      <p:ext uri="{BB962C8B-B14F-4D97-AF65-F5344CB8AC3E}">
        <p14:creationId xmlns:p14="http://schemas.microsoft.com/office/powerpoint/2010/main" val="22524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A0ACA-6688-2B13-CE28-BC0A1BBD28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BD2CDA-E2E5-E379-501D-AF9363145349}"/>
              </a:ext>
            </a:extLst>
          </p:cNvPr>
          <p:cNvSpPr>
            <a:spLocks noGrp="1"/>
          </p:cNvSpPr>
          <p:nvPr>
            <p:ph type="title"/>
          </p:nvPr>
        </p:nvSpPr>
        <p:spPr>
          <a:xfrm>
            <a:off x="499170" y="524042"/>
            <a:ext cx="11118066" cy="822121"/>
          </a:xfrm>
        </p:spPr>
        <p:txBody>
          <a:bodyPr/>
          <a:lstStyle/>
          <a:p>
            <a:r>
              <a:rPr lang="en-IN" sz="3200" dirty="0"/>
              <a:t>Certificate</a:t>
            </a:r>
            <a:r>
              <a:rPr lang="en-IN" sz="2400" dirty="0"/>
              <a:t> </a:t>
            </a:r>
            <a:r>
              <a:rPr lang="en-IN" sz="3200" dirty="0"/>
              <a:t>Management and Refresh </a:t>
            </a:r>
          </a:p>
        </p:txBody>
      </p:sp>
      <p:sp>
        <p:nvSpPr>
          <p:cNvPr id="3" name="Text Placeholder 2">
            <a:extLst>
              <a:ext uri="{FF2B5EF4-FFF2-40B4-BE49-F238E27FC236}">
                <a16:creationId xmlns:a16="http://schemas.microsoft.com/office/drawing/2014/main" id="{C2291739-6DAE-5173-6DFA-403E00D400F2}"/>
              </a:ext>
            </a:extLst>
          </p:cNvPr>
          <p:cNvSpPr>
            <a:spLocks noGrp="1"/>
          </p:cNvSpPr>
          <p:nvPr>
            <p:ph type="body" sz="quarter" idx="10"/>
          </p:nvPr>
        </p:nvSpPr>
        <p:spPr>
          <a:xfrm>
            <a:off x="499170" y="1346163"/>
            <a:ext cx="11616630" cy="4292637"/>
          </a:xfrm>
        </p:spPr>
        <p:txBody>
          <a:bodyPr vert="horz" lIns="0" tIns="0" rIns="0" bIns="0" rtlCol="0" anchor="t">
            <a:normAutofit/>
          </a:bodyPr>
          <a:lstStyle/>
          <a:p>
            <a:pPr marL="342900" indent="-342900">
              <a:buFont typeface="Arial" panose="020B0604020202020204" pitchFamily="34" charset="0"/>
              <a:buChar char="•"/>
            </a:pPr>
            <a:endParaRPr lang="en-US" dirty="0"/>
          </a:p>
          <a:p>
            <a:pPr marL="285750" indent="-285750">
              <a:buFont typeface="Wingdings" panose="05000000000000000000" pitchFamily="2" charset="2"/>
              <a:buChar char="Ø"/>
            </a:pPr>
            <a:r>
              <a:rPr lang="en-IN" sz="1800" dirty="0"/>
              <a:t>A new dummy node record '.database' will be introduced in Secure+.</a:t>
            </a:r>
          </a:p>
          <a:p>
            <a:pPr marL="285750" indent="-285750">
              <a:buFont typeface="Wingdings" panose="05000000000000000000" pitchFamily="2" charset="2"/>
              <a:buChar char="Ø"/>
            </a:pPr>
            <a:r>
              <a:rPr lang="en-IN" sz="1800" dirty="0"/>
              <a:t>Users will be able to browse and select CA/Key certificates for PostgreSQL using this .database record.</a:t>
            </a:r>
          </a:p>
          <a:p>
            <a:pPr marL="285750" indent="-285750">
              <a:buFont typeface="Wingdings" panose="05000000000000000000" pitchFamily="2" charset="2"/>
              <a:buChar char="Ø"/>
            </a:pPr>
            <a:r>
              <a:rPr lang="en-IN" sz="1800" dirty="0"/>
              <a:t>Post selection of certificates, UI will warn if the currently used certificate differs from the selected one, recommending a refresh.</a:t>
            </a:r>
          </a:p>
          <a:p>
            <a:pPr marL="285750" indent="-285750">
              <a:buFont typeface="Wingdings" panose="05000000000000000000" pitchFamily="2" charset="2"/>
              <a:buChar char="Ø"/>
            </a:pPr>
            <a:r>
              <a:rPr lang="en-IN" sz="1800" dirty="0"/>
              <a:t>Users can trigger refresh using </a:t>
            </a:r>
            <a:r>
              <a:rPr lang="en-IN" sz="1800" dirty="0" err="1"/>
              <a:t>Connect:Direct</a:t>
            </a:r>
            <a:r>
              <a:rPr lang="en-IN" sz="1800" dirty="0"/>
              <a:t> Admin tool or webservices for </a:t>
            </a:r>
            <a:r>
              <a:rPr lang="en-IN" sz="1800" dirty="0" err="1"/>
              <a:t>Connect:Direct</a:t>
            </a:r>
            <a:r>
              <a:rPr lang="en-IN" sz="1800" dirty="0"/>
              <a:t> for Windows.</a:t>
            </a:r>
          </a:p>
          <a:p>
            <a:pPr marL="285750" indent="-285750">
              <a:buFont typeface="Wingdings" panose="05000000000000000000" pitchFamily="2" charset="2"/>
              <a:buChar char="Ø"/>
            </a:pPr>
            <a:r>
              <a:rPr lang="en-IN" sz="1800" dirty="0"/>
              <a:t>Certificate refresh will stop </a:t>
            </a:r>
            <a:r>
              <a:rPr lang="en-IN" sz="1800" dirty="0" err="1"/>
              <a:t>Connect:Direct</a:t>
            </a:r>
            <a:r>
              <a:rPr lang="en-IN" sz="1800" dirty="0"/>
              <a:t> for Windows and PostgreSQL services, update certificates in </a:t>
            </a:r>
            <a:r>
              <a:rPr lang="en-IN" sz="1800" dirty="0" err="1"/>
              <a:t>PostgreSQL_Install_directory</a:t>
            </a:r>
            <a:r>
              <a:rPr lang="en-IN" sz="1800" dirty="0"/>
              <a:t>/certs, and restart services.</a:t>
            </a:r>
          </a:p>
          <a:p>
            <a:pPr marL="285750" indent="-285750">
              <a:buFont typeface="Wingdings" panose="05000000000000000000" pitchFamily="2" charset="2"/>
              <a:buChar char="Ø"/>
            </a:pPr>
            <a:r>
              <a:rPr lang="en-IN" sz="1800" dirty="0"/>
              <a:t>It is recommended to use a separate certificate for PostgreSQL, though the same </a:t>
            </a:r>
            <a:r>
              <a:rPr lang="en-IN" sz="1800" dirty="0" err="1"/>
              <a:t>Connect:Direct</a:t>
            </a:r>
            <a:r>
              <a:rPr lang="en-IN" sz="1800" dirty="0"/>
              <a:t> for Windows certificate used by file transfer could be re-used.</a:t>
            </a:r>
          </a:p>
          <a:p>
            <a:pPr marL="342900" indent="-342900">
              <a:buFont typeface="Wingdings" panose="05000000000000000000" pitchFamily="2" charset="2"/>
              <a:buChar char="Ø"/>
            </a:pPr>
            <a:endParaRPr lang="en-US" sz="1800" dirty="0"/>
          </a:p>
        </p:txBody>
      </p:sp>
      <p:sp>
        <p:nvSpPr>
          <p:cNvPr id="4" name="Text Placeholder 3">
            <a:extLst>
              <a:ext uri="{FF2B5EF4-FFF2-40B4-BE49-F238E27FC236}">
                <a16:creationId xmlns:a16="http://schemas.microsoft.com/office/drawing/2014/main" id="{C93CFFE2-3B4B-4824-63B5-B6C4CC42CC4E}"/>
              </a:ext>
            </a:extLst>
          </p:cNvPr>
          <p:cNvSpPr>
            <a:spLocks noGrp="1"/>
          </p:cNvSpPr>
          <p:nvPr>
            <p:ph type="body" sz="quarter" idx="11"/>
          </p:nvPr>
        </p:nvSpPr>
        <p:spPr>
          <a:xfrm flipV="1">
            <a:off x="492000" y="6858000"/>
            <a:ext cx="11700000" cy="45719"/>
          </a:xfrm>
        </p:spPr>
        <p:txBody>
          <a:bodyPr>
            <a:normAutofit fontScale="25000" lnSpcReduction="20000"/>
          </a:bodyPr>
          <a:lstStyle/>
          <a:p>
            <a:endParaRPr lang="en-IN"/>
          </a:p>
        </p:txBody>
      </p:sp>
      <p:sp>
        <p:nvSpPr>
          <p:cNvPr id="8" name="Text Placeholder 2">
            <a:extLst>
              <a:ext uri="{FF2B5EF4-FFF2-40B4-BE49-F238E27FC236}">
                <a16:creationId xmlns:a16="http://schemas.microsoft.com/office/drawing/2014/main" id="{BF370E61-CFDE-BB6E-A9C2-791882E14A16}"/>
              </a:ext>
            </a:extLst>
          </p:cNvPr>
          <p:cNvSpPr txBox="1">
            <a:spLocks/>
          </p:cNvSpPr>
          <p:nvPr/>
        </p:nvSpPr>
        <p:spPr>
          <a:xfrm>
            <a:off x="499170" y="4462277"/>
            <a:ext cx="10854630" cy="1792598"/>
          </a:xfrm>
          <a:prstGeom prst="rect">
            <a:avLst/>
          </a:prstGeom>
        </p:spPr>
        <p:txBody>
          <a:bodyPr vert="horz" lIns="0" tIns="0" rIns="0" bIns="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Wingdings" panose="05000000000000000000" pitchFamily="2" charset="2"/>
              <a:buChar char="Ø"/>
            </a:pPr>
            <a:endParaRPr lang="en-US" sz="1800" dirty="0"/>
          </a:p>
        </p:txBody>
      </p:sp>
    </p:spTree>
    <p:extLst>
      <p:ext uri="{BB962C8B-B14F-4D97-AF65-F5344CB8AC3E}">
        <p14:creationId xmlns:p14="http://schemas.microsoft.com/office/powerpoint/2010/main" val="2184699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89187-727F-A79A-405D-BB73AEF548F3}"/>
              </a:ext>
            </a:extLst>
          </p:cNvPr>
          <p:cNvSpPr>
            <a:spLocks noGrp="1"/>
          </p:cNvSpPr>
          <p:nvPr>
            <p:ph type="title"/>
          </p:nvPr>
        </p:nvSpPr>
        <p:spPr>
          <a:xfrm>
            <a:off x="685800" y="-38100"/>
            <a:ext cx="10666784" cy="1333500"/>
          </a:xfrm>
        </p:spPr>
        <p:txBody>
          <a:bodyPr anchor="ctr">
            <a:normAutofit/>
          </a:bodyPr>
          <a:lstStyle/>
          <a:p>
            <a:r>
              <a:rPr lang="en-IN" sz="3200" dirty="0"/>
              <a:t>Limitations</a:t>
            </a:r>
            <a:r>
              <a:rPr lang="en-IN" dirty="0"/>
              <a:t> and Considerations</a:t>
            </a:r>
            <a:endParaRPr lang="en-IN" b="1" dirty="0"/>
          </a:p>
        </p:txBody>
      </p:sp>
      <p:sp>
        <p:nvSpPr>
          <p:cNvPr id="4" name="TextBox 3">
            <a:extLst>
              <a:ext uri="{FF2B5EF4-FFF2-40B4-BE49-F238E27FC236}">
                <a16:creationId xmlns:a16="http://schemas.microsoft.com/office/drawing/2014/main" id="{CD4C13F1-087A-D412-1983-F2BA87390653}"/>
              </a:ext>
            </a:extLst>
          </p:cNvPr>
          <p:cNvSpPr txBox="1"/>
          <p:nvPr/>
        </p:nvSpPr>
        <p:spPr>
          <a:xfrm>
            <a:off x="609600" y="1501676"/>
            <a:ext cx="11506200" cy="2031325"/>
          </a:xfrm>
          <a:prstGeom prst="rect">
            <a:avLst/>
          </a:prstGeom>
        </p:spPr>
        <p:txBody>
          <a:bodyPr vert="horz" lIns="0" tIns="0" rIns="0" bIns="0" rtlCol="0" anchor="t">
            <a:noAutofit/>
          </a:bodyPr>
          <a:lstStyle>
            <a:lvl1pPr marL="342900" indent="-342900">
              <a:lnSpc>
                <a:spcPct val="90000"/>
              </a:lnSpc>
              <a:spcBef>
                <a:spcPts val="1000"/>
              </a:spcBef>
              <a:buFont typeface="Wingdings" panose="05000000000000000000" pitchFamily="2" charset="2"/>
              <a:buChar char="Ø"/>
              <a:defRPr>
                <a:latin typeface="+mj-lt"/>
              </a:defRPr>
            </a:lvl1pPr>
            <a:lvl2pPr marL="266700" indent="-177800">
              <a:lnSpc>
                <a:spcPct val="90000"/>
              </a:lnSpc>
              <a:spcBef>
                <a:spcPts val="500"/>
              </a:spcBef>
              <a:buClr>
                <a:schemeClr val="accent1"/>
              </a:buClr>
              <a:buFont typeface="Wingdings" panose="05000000000000000000" pitchFamily="2" charset="2"/>
              <a:buChar char="§"/>
              <a:defRPr>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622300" indent="-177800">
              <a:lnSpc>
                <a:spcPct val="90000"/>
              </a:lnSpc>
              <a:spcBef>
                <a:spcPts val="500"/>
              </a:spcBef>
              <a:buClr>
                <a:schemeClr val="accent3"/>
              </a:buClr>
              <a:buFont typeface="Verdana" panose="020B0604030504040204" pitchFamily="34" charset="0"/>
              <a:buChar char="‒"/>
              <a:defRPr sz="14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dirty="0"/>
              <a:t>PostgreSQL on Windows requires certificates and unencrypted private keys to be exported to disk.</a:t>
            </a:r>
          </a:p>
          <a:p>
            <a:r>
              <a:rPr lang="en-IN" dirty="0" err="1"/>
              <a:t>Connect:Direct</a:t>
            </a:r>
            <a:r>
              <a:rPr lang="en-IN" dirty="0"/>
              <a:t> for Windows already restricts permissions to administrators only for the PostgreSQL certificate directory.</a:t>
            </a:r>
          </a:p>
          <a:p>
            <a:r>
              <a:rPr lang="en-IN" dirty="0"/>
              <a:t>Unlike Unix, PostgreSQL for Windows does not currently support passphrase-protected encrypted private key decryption using exit.</a:t>
            </a:r>
          </a:p>
          <a:p>
            <a:r>
              <a:rPr lang="en-IN" dirty="0"/>
              <a:t>Future support for encrypted key decryption via exit on Windows is anticipated.</a:t>
            </a:r>
          </a:p>
        </p:txBody>
      </p:sp>
    </p:spTree>
    <p:extLst>
      <p:ext uri="{BB962C8B-B14F-4D97-AF65-F5344CB8AC3E}">
        <p14:creationId xmlns:p14="http://schemas.microsoft.com/office/powerpoint/2010/main" val="1615706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Thank You!</a:t>
            </a:r>
          </a:p>
        </p:txBody>
      </p:sp>
    </p:spTree>
    <p:extLst>
      <p:ext uri="{BB962C8B-B14F-4D97-AF65-F5344CB8AC3E}">
        <p14:creationId xmlns:p14="http://schemas.microsoft.com/office/powerpoint/2010/main" val="4047267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001C0269-3E51-49E1-BB25-6F901D1A07A6}"/>
    </a:ext>
  </a:extLst>
</a:theme>
</file>

<file path=ppt/theme/theme10.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6.xml><?xml version="1.0" encoding="utf-8"?>
<a:theme xmlns:a="http://schemas.openxmlformats.org/drawingml/2006/main" name="3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7.xml><?xml version="1.0" encoding="utf-8"?>
<a:theme xmlns:a="http://schemas.openxmlformats.org/drawingml/2006/main" name="4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8.xml><?xml version="1.0" encoding="utf-8"?>
<a:theme xmlns:a="http://schemas.openxmlformats.org/drawingml/2006/main" name="5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9.xml><?xml version="1.0" encoding="utf-8"?>
<a:theme xmlns:a="http://schemas.openxmlformats.org/drawingml/2006/main" name="6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C04BC5C42C1AA4EAC5D6AE8054EA664" ma:contentTypeVersion="14" ma:contentTypeDescription="Create a new document." ma:contentTypeScope="" ma:versionID="9e2aa23b9e8762f49704ebd2f0b1cd1d">
  <xsd:schema xmlns:xsd="http://www.w3.org/2001/XMLSchema" xmlns:xs="http://www.w3.org/2001/XMLSchema" xmlns:p="http://schemas.microsoft.com/office/2006/metadata/properties" xmlns:ns3="9b98be56-d410-4717-ba1e-c5c841ddd9a6" xmlns:ns4="7f4b42a4-3693-42d9-9378-a5c514056037" targetNamespace="http://schemas.microsoft.com/office/2006/metadata/properties" ma:root="true" ma:fieldsID="bcc5f6c7996835b1329793a59dcf9b4b" ns3:_="" ns4:_="">
    <xsd:import namespace="9b98be56-d410-4717-ba1e-c5c841ddd9a6"/>
    <xsd:import namespace="7f4b42a4-3693-42d9-9378-a5c51405603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LengthInSeconds" minOccurs="0"/>
                <xsd:element ref="ns3:MediaServiceAutoKeyPoints" minOccurs="0"/>
                <xsd:element ref="ns3:MediaServiceKeyPoint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8be56-d410-4717-ba1e-c5c841ddd9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4b42a4-3693-42d9-9378-a5c51405603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005DE4-BB6E-423A-BABF-D2752B15B873}">
  <ds:schemaRefs>
    <ds:schemaRef ds:uri="http://schemas.microsoft.com/office/infopath/2007/PartnerControls"/>
    <ds:schemaRef ds:uri="http://purl.org/dc/elements/1.1/"/>
    <ds:schemaRef ds:uri="http://schemas.microsoft.com/office/2006/metadata/properties"/>
    <ds:schemaRef ds:uri="7f4b42a4-3693-42d9-9378-a5c514056037"/>
    <ds:schemaRef ds:uri="http://purl.org/dc/terms/"/>
    <ds:schemaRef ds:uri="http://schemas.openxmlformats.org/package/2006/metadata/core-properties"/>
    <ds:schemaRef ds:uri="http://schemas.microsoft.com/office/2006/documentManagement/types"/>
    <ds:schemaRef ds:uri="9b98be56-d410-4717-ba1e-c5c841ddd9a6"/>
    <ds:schemaRef ds:uri="http://www.w3.org/XML/1998/namespace"/>
    <ds:schemaRef ds:uri="http://purl.org/dc/dcmitype/"/>
  </ds:schemaRefs>
</ds:datastoreItem>
</file>

<file path=customXml/itemProps2.xml><?xml version="1.0" encoding="utf-8"?>
<ds:datastoreItem xmlns:ds="http://schemas.openxmlformats.org/officeDocument/2006/customXml" ds:itemID="{C1B10BA4-45DB-4BE4-A597-7EDB18C72743}">
  <ds:schemaRefs>
    <ds:schemaRef ds:uri="http://schemas.microsoft.com/sharepoint/v3/contenttype/forms"/>
  </ds:schemaRefs>
</ds:datastoreItem>
</file>

<file path=customXml/itemProps3.xml><?xml version="1.0" encoding="utf-8"?>
<ds:datastoreItem xmlns:ds="http://schemas.openxmlformats.org/officeDocument/2006/customXml" ds:itemID="{545D8D1E-0316-481E-854E-E41790B146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98be56-d410-4717-ba1e-c5c841ddd9a6"/>
    <ds:schemaRef ds:uri="7f4b42a4-3693-42d9-9378-a5c514056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ppt-template_Capgemini-Engineering</Template>
  <TotalTime>265292</TotalTime>
  <Words>295</Words>
  <Application>Microsoft Office PowerPoint</Application>
  <PresentationFormat>Widescreen</PresentationFormat>
  <Paragraphs>23</Paragraphs>
  <Slides>5</Slides>
  <Notes>1</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5</vt:i4>
      </vt:variant>
    </vt:vector>
  </HeadingPairs>
  <TitlesOfParts>
    <vt:vector size="21" baseType="lpstr">
      <vt:lpstr>Arial</vt:lpstr>
      <vt:lpstr>Ubuntu</vt:lpstr>
      <vt:lpstr>Ubuntu Light</vt:lpstr>
      <vt:lpstr>Ubuntu Medium</vt:lpstr>
      <vt:lpstr>Verdana</vt:lpstr>
      <vt:lpstr>Wingdings</vt:lpstr>
      <vt:lpstr>Capgemini Master</vt:lpstr>
      <vt:lpstr>3_Altran</vt:lpstr>
      <vt:lpstr>Capgemini Master 2021</vt:lpstr>
      <vt:lpstr>1_Capgemini Master 2021</vt:lpstr>
      <vt:lpstr>2_Capgemini Master 2021</vt:lpstr>
      <vt:lpstr>3_Capgemini Master 2021</vt:lpstr>
      <vt:lpstr>4_Capgemini Master 2021</vt:lpstr>
      <vt:lpstr>5_Capgemini Master 2021</vt:lpstr>
      <vt:lpstr>6_Capgemini Master 2021</vt:lpstr>
      <vt:lpstr>think-cell Slide</vt:lpstr>
      <vt:lpstr>PowerPoint Presentation</vt:lpstr>
      <vt:lpstr>Overview and Installation Enhancements</vt:lpstr>
      <vt:lpstr>Certificate Management and Refresh </vt:lpstr>
      <vt:lpstr>Limitations and Considera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Lawrence Morland</dc:creator>
  <cp:lastModifiedBy>Savarn, Shashi</cp:lastModifiedBy>
  <cp:revision>1570</cp:revision>
  <dcterms:created xsi:type="dcterms:W3CDTF">2021-04-12T20:02:26Z</dcterms:created>
  <dcterms:modified xsi:type="dcterms:W3CDTF">2025-07-08T14: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04BC5C42C1AA4EAC5D6AE8054EA664</vt:lpwstr>
  </property>
</Properties>
</file>